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84" r:id="rId1"/>
    <p:sldMasterId id="2147483698" r:id="rId2"/>
    <p:sldMasterId id="2147483717" r:id="rId3"/>
    <p:sldMasterId id="2147483743" r:id="rId4"/>
  </p:sldMasterIdLst>
  <p:notesMasterIdLst>
    <p:notesMasterId r:id="rId8"/>
  </p:notesMasterIdLst>
  <p:handoutMasterIdLst>
    <p:handoutMasterId r:id="rId9"/>
  </p:handoutMasterIdLst>
  <p:sldIdLst>
    <p:sldId id="256" r:id="rId5"/>
    <p:sldId id="2147375450" r:id="rId6"/>
    <p:sldId id="2147375451" r:id="rId7"/>
  </p:sldIdLst>
  <p:sldSz cx="12192000" cy="6858000"/>
  <p:notesSz cx="6858000" cy="9144000"/>
  <p:defaultTextStyle>
    <a:defPPr>
      <a:defRPr lang="en-US"/>
    </a:defPPr>
    <a:lvl1pPr marL="0" algn="l" defTabSz="4570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071" algn="l" defTabSz="4570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143" algn="l" defTabSz="4570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216" algn="l" defTabSz="4570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285" algn="l" defTabSz="4570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356" algn="l" defTabSz="4570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429" algn="l" defTabSz="4570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500" algn="l" defTabSz="4570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572" algn="l" defTabSz="4570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D5885"/>
    <a:srgbClr val="417C7B"/>
    <a:srgbClr val="5D426B"/>
    <a:srgbClr val="760102"/>
    <a:srgbClr val="404040"/>
    <a:srgbClr val="EAEAEA"/>
    <a:srgbClr val="2C4063"/>
    <a:srgbClr val="870101"/>
    <a:srgbClr val="3159A0"/>
    <a:srgbClr val="3F6FA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88AED31-BEC2-47E9-874C-73BA2ABF35D6}" v="27" dt="2022-10-27T23:53:27.97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96" autoAdjust="0"/>
    <p:restoredTop sz="96286" autoAdjust="0"/>
  </p:normalViewPr>
  <p:slideViewPr>
    <p:cSldViewPr snapToGrid="0" snapToObjects="1">
      <p:cViewPr varScale="1">
        <p:scale>
          <a:sx n="86" d="100"/>
          <a:sy n="86" d="100"/>
        </p:scale>
        <p:origin x="48" y="15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 snapToObjects="1">
      <p:cViewPr>
        <p:scale>
          <a:sx n="100" d="100"/>
          <a:sy n="100" d="100"/>
        </p:scale>
        <p:origin x="-2016" y="156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handoutMaster" Target="handoutMasters/handoutMaster1.xml"/><Relationship Id="rId14" Type="http://schemas.microsoft.com/office/2015/10/relationships/revisionInfo" Target="revisionInfo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F16E113-E953-8C4D-999E-7707DCE412EF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FD5F8D2-C06B-F142-958F-DB6F983CFB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436818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96152A0-843A-8846-BF23-ABE70335AF7C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9699D63-6D8C-4943-AD1E-44B6A6B3262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238441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07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071" algn="l" defTabSz="45707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143" algn="l" defTabSz="45707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216" algn="l" defTabSz="45707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285" algn="l" defTabSz="45707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356" algn="l" defTabSz="45707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429" algn="l" defTabSz="45707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500" algn="l" defTabSz="45707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572" algn="l" defTabSz="45707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.xml"/><Relationship Id="rId4" Type="http://schemas.openxmlformats.org/officeDocument/2006/relationships/image" Target="../media/image5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Relationship Id="rId4" Type="http://schemas.openxmlformats.org/officeDocument/2006/relationships/image" Target="../media/image5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Relationship Id="rId4" Type="http://schemas.openxmlformats.org/officeDocument/2006/relationships/image" Target="../media/image5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.xml"/><Relationship Id="rId4" Type="http://schemas.openxmlformats.org/officeDocument/2006/relationships/image" Target="../media/image5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Relationship Id="rId4" Type="http://schemas.openxmlformats.org/officeDocument/2006/relationships/image" Target="../media/image5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.xml"/><Relationship Id="rId5" Type="http://schemas.openxmlformats.org/officeDocument/2006/relationships/image" Target="../media/image7.png"/><Relationship Id="rId4" Type="http://schemas.openxmlformats.org/officeDocument/2006/relationships/image" Target="../media/image5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.xml"/><Relationship Id="rId5" Type="http://schemas.openxmlformats.org/officeDocument/2006/relationships/image" Target="../media/image7.png"/><Relationship Id="rId4" Type="http://schemas.openxmlformats.org/officeDocument/2006/relationships/image" Target="../media/image5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Relationship Id="rId5" Type="http://schemas.openxmlformats.org/officeDocument/2006/relationships/image" Target="../media/image7.png"/><Relationship Id="rId4" Type="http://schemas.openxmlformats.org/officeDocument/2006/relationships/image" Target="../media/image5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Relationship Id="rId5" Type="http://schemas.openxmlformats.org/officeDocument/2006/relationships/image" Target="../media/image7.png"/><Relationship Id="rId4" Type="http://schemas.openxmlformats.org/officeDocument/2006/relationships/image" Target="../media/image5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Relationship Id="rId5" Type="http://schemas.openxmlformats.org/officeDocument/2006/relationships/image" Target="../media/image7.png"/><Relationship Id="rId4" Type="http://schemas.openxmlformats.org/officeDocument/2006/relationships/image" Target="../media/image5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Relationship Id="rId4" Type="http://schemas.openxmlformats.org/officeDocument/2006/relationships/image" Target="../media/image5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.xml"/><Relationship Id="rId4" Type="http://schemas.openxmlformats.org/officeDocument/2006/relationships/image" Target="../media/image5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Relationship Id="rId4" Type="http://schemas.openxmlformats.org/officeDocument/2006/relationships/image" Target="../media/image5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Relationship Id="rId4" Type="http://schemas.openxmlformats.org/officeDocument/2006/relationships/image" Target="../media/image5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Relationship Id="rId4" Type="http://schemas.openxmlformats.org/officeDocument/2006/relationships/image" Target="../media/image5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4" Type="http://schemas.openxmlformats.org/officeDocument/2006/relationships/image" Target="../media/image5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Relationship Id="rId4" Type="http://schemas.openxmlformats.org/officeDocument/2006/relationships/image" Target="../media/image5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4" Type="http://schemas.openxmlformats.org/officeDocument/2006/relationships/image" Target="../media/image5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.xml"/><Relationship Id="rId5" Type="http://schemas.openxmlformats.org/officeDocument/2006/relationships/image" Target="../media/image8.png"/><Relationship Id="rId4" Type="http://schemas.openxmlformats.org/officeDocument/2006/relationships/image" Target="../media/image5.emf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7C583467-BC8D-5F46-B1F8-79FDB7A792F2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1E617D7F-ABC2-B54B-B054-76FDCC818417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1E617D7F-ABC2-B54B-B054-76FDCC818417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3521" y="109874"/>
            <a:ext cx="11191950" cy="103965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7577" y="1546167"/>
            <a:ext cx="11324572" cy="444713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1E617D7F-ABC2-B54B-B054-76FDCC818417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1E617D7F-ABC2-B54B-B054-76FDCC818417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F19DE8-5450-6CD1-5952-EA95221C6C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5DDA93D-11F0-A67D-7FC1-EFC83108C2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6D71516-2FBB-0E28-F104-E730D6334B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569F4E-218B-A2F9-D5A2-08862017DC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770D22-232B-9CAF-024E-FA3CA75E44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87297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BF1A84-66D0-9E39-E935-E155B0ADD8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DFA7F3-75CE-6603-9DF0-682664F5419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D0FBE14-5022-2C46-0AC1-61A23B9828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3FD42AC-9129-884B-0361-69AA5768B6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7975221-5335-D866-87FC-E268F5D66A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53431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E6D73F-228F-63D2-5E04-5A1B8BE87B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E3C8DC4-423A-CE74-299B-A291E5D521A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63F2D40-3EF4-E681-7C60-4BA55ADCC0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64D29-5A06-8FC9-8745-E439EF9AC5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7F8701-F793-35A5-0AF1-9CB3F0028D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35460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2B608-5707-6EA4-26F1-72CC4FC5C9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4978DA-AC23-3946-184F-0017DC69CDA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7682557-C9E3-A5EB-65FD-F6E8A9E6DA9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9C24A0D-65C8-9D16-696B-26FB06AE2A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EBFD35B-CD43-991A-234C-B39F915671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5181FCE-9D72-7E48-5A77-EE821814C7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264579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805B6D-2EE1-FD1E-038F-5CE440376F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89737C-5388-D4AE-8871-473EBFCBAC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F002046-D8EF-8A17-7E9D-E90DFD95E1F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1E52B18-D7BA-585C-4C61-FBD673FBA86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2BBC4F1-0439-8AA8-D029-E149BB9C44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6A7567A-047B-68FF-00ED-E730E4C501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1A53ACE-CA51-21C1-DC68-9640904B44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DAA246B-5D03-7606-DDCA-8AC8C0BB46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01763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40B2BC-2AEA-7093-70EA-8E497D44CE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469A6C-F24B-40D2-79DB-EAFE562FBE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E115B7F-BAE7-763A-30B2-C1C32E744C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807326-6C7A-A4E6-8468-2680BA97D7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230161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8B4379B-5838-2CE6-D7CB-E196874766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74E6492-C8B6-0B0A-9F8D-C75DB71945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074C90-4DF7-8037-9929-5F97F25BE5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34762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7449" y="1528531"/>
            <a:ext cx="11436263" cy="435133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4FC414AE-95ED-884B-9CEB-CDD18275ED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3521" y="109874"/>
            <a:ext cx="11191950" cy="103965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2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6287F1-60CB-10B0-64C1-DC4EFBFE72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4EC2E7-ADCC-B5ED-F2C6-8E81343D4C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2F436C1-37C6-7208-0366-2B56AAC8390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A7152D-91F6-AE1B-83BB-2264842003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F35685E-A916-9FB2-C9E6-D3AD0A6B3E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DEA2D84-E72E-361B-81B9-5A2154EC3C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85317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94D4EE-21C9-49AF-9F71-4A61B28C09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367A66E-6E68-73D3-5294-4D4AE128A84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65A4805-6360-7B87-AD68-5E10618D86E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2BFB9D-1F38-A70A-9907-F87FAA991C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AD157C-474B-23AC-B0C4-1B785EF027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5DD46BF-CB72-8DA1-B580-1BF185392D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65710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D4E52-5F46-6608-2268-E6FF051C94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F7772D7-7812-66EB-1E23-EF9804536D3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CE98D4A-AA98-8C4A-733F-6AC08CDD56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C3B591-34C0-B09B-9222-4A063E4FAF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4A03F1F-212B-1B16-F692-11E3FB975E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762203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B5F486E-DB19-F76D-5226-7F6A21BF94C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FA9CB29-60E5-F77B-5C00-CBCBB558FD6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91084C-D460-BAB9-1362-96E3A67FD3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0433A5-68A0-F52F-DE69-AAB1697C1F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477C1CA-80B9-4800-EB63-77C3E43C29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31232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ilent 16:9 Tit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B662F66-A4D2-472E-AB03-9F3EE519E8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1153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B662F66-A4D2-472E-AB03-9F3EE519E8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/>
          <p:cNvSpPr/>
          <p:nvPr userDrawn="1"/>
        </p:nvSpPr>
        <p:spPr>
          <a:xfrm>
            <a:off x="5483504" y="-1"/>
            <a:ext cx="292388" cy="687294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5" name="Rectangle 24"/>
          <p:cNvSpPr/>
          <p:nvPr userDrawn="1"/>
        </p:nvSpPr>
        <p:spPr>
          <a:xfrm>
            <a:off x="-1" y="-1"/>
            <a:ext cx="5483505" cy="687294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5775892" y="-1"/>
            <a:ext cx="626402" cy="6872941"/>
          </a:xfrm>
          <a:prstGeom prst="rect">
            <a:avLst/>
          </a:prstGeom>
          <a:solidFill>
            <a:srgbClr val="0042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6402294" y="-2"/>
            <a:ext cx="3661784" cy="6874984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76104" y="329302"/>
            <a:ext cx="4715611" cy="2066357"/>
          </a:xfrm>
        </p:spPr>
        <p:txBody>
          <a:bodyPr vert="horz" lIns="0" tIns="0" rIns="0" bIns="0" anchor="b" anchorCtr="0">
            <a:normAutofit/>
          </a:bodyPr>
          <a:lstStyle>
            <a:lvl1pPr algn="l" rtl="0">
              <a:defRPr sz="28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 bwMode="white">
          <a:xfrm>
            <a:off x="476104" y="4115770"/>
            <a:ext cx="4715611" cy="1137771"/>
          </a:xfrm>
        </p:spPr>
        <p:txBody>
          <a:bodyPr lIns="0" tIns="0" rIns="0" bIns="0" anchor="t" anchorCtr="0">
            <a:normAutofit/>
          </a:bodyPr>
          <a:lstStyle>
            <a:lvl1pPr marL="0" indent="0" algn="l" rtl="0">
              <a:spcBef>
                <a:spcPts val="300"/>
              </a:spcBef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1097280" y="6621625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2615184" y="6295365"/>
            <a:ext cx="2560320" cy="457200"/>
          </a:xfrm>
        </p:spPr>
        <p:txBody>
          <a:bodyPr anchor="b"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6250" y="2612108"/>
            <a:ext cx="4715487" cy="811212"/>
          </a:xfrm>
        </p:spPr>
        <p:txBody>
          <a:bodyPr/>
          <a:lstStyle>
            <a:lvl1pPr rtl="0">
              <a:lnSpc>
                <a:spcPct val="90000"/>
              </a:lnSpc>
              <a:spcBef>
                <a:spcPts val="800"/>
              </a:spcBef>
              <a:defRPr baseline="0">
                <a:solidFill>
                  <a:schemeClr val="bg2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0" indent="0">
              <a:buNone/>
              <a:defRPr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2pPr>
            <a:lvl3pPr>
              <a:defRPr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3pPr>
            <a:lvl4pPr>
              <a:defRPr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4pPr>
            <a:lvl5pPr>
              <a:defRPr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0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502920" y="6621625"/>
            <a:ext cx="530352" cy="118872"/>
          </a:xfrm>
        </p:spPr>
        <p:txBody>
          <a:bodyPr/>
          <a:lstStyle>
            <a:lvl1pPr rtl="0">
              <a:defRPr sz="800" b="1" i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defRPr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grpSp>
        <p:nvGrpSpPr>
          <p:cNvPr id="5" name="Group 4"/>
          <p:cNvGrpSpPr/>
          <p:nvPr userDrawn="1"/>
        </p:nvGrpSpPr>
        <p:grpSpPr>
          <a:xfrm>
            <a:off x="10064080" y="-1"/>
            <a:ext cx="2136888" cy="6872941"/>
            <a:chOff x="10064080" y="-1"/>
            <a:chExt cx="2136888" cy="6872941"/>
          </a:xfrm>
        </p:grpSpPr>
        <p:sp>
          <p:nvSpPr>
            <p:cNvPr id="9" name="Rectangle 8"/>
            <p:cNvSpPr/>
            <p:nvPr userDrawn="1"/>
          </p:nvSpPr>
          <p:spPr>
            <a:xfrm>
              <a:off x="10064080" y="-1"/>
              <a:ext cx="2127920" cy="687294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dirty="0">
                <a:latin typeface="Arial" panose="020B0604020202020204" pitchFamily="34" charset="0"/>
              </a:endParaRPr>
            </a:p>
          </p:txBody>
        </p:sp>
        <p:pic>
          <p:nvPicPr>
            <p:cNvPr id="3" name="Picture 2"/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67544" y="283"/>
              <a:ext cx="2133424" cy="68574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6220384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ilent 16:9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05AD731-36DA-4C9A-BA64-24DBA6F734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2360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05AD731-36DA-4C9A-BA64-24DBA6F734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/>
          <p:cNvSpPr/>
          <p:nvPr userDrawn="1"/>
        </p:nvSpPr>
        <p:spPr>
          <a:xfrm>
            <a:off x="-1" y="-1"/>
            <a:ext cx="7918825" cy="687294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7918824" y="-1"/>
            <a:ext cx="621169" cy="687294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8539992" y="-1"/>
            <a:ext cx="1524087" cy="687294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76103" y="667267"/>
            <a:ext cx="7143939" cy="1728392"/>
          </a:xfrm>
        </p:spPr>
        <p:txBody>
          <a:bodyPr vert="horz" lIns="0" tIns="0" rIns="0" bIns="0" anchor="b" anchorCtr="0">
            <a:normAutofit/>
          </a:bodyPr>
          <a:lstStyle>
            <a:lvl1pPr algn="l" rtl="0">
              <a:defRPr sz="28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476103" y="4115770"/>
            <a:ext cx="7143939" cy="1137771"/>
          </a:xfrm>
        </p:spPr>
        <p:txBody>
          <a:bodyPr lIns="0" tIns="0" rIns="0" bIns="0" anchor="t" anchorCtr="0">
            <a:normAutofit/>
          </a:bodyPr>
          <a:lstStyle>
            <a:lvl1pPr marL="0" indent="0" algn="l" rtl="0">
              <a:spcBef>
                <a:spcPts val="300"/>
              </a:spcBef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1097280" y="6621625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2615184" y="6621625"/>
            <a:ext cx="49377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502920" y="6621625"/>
            <a:ext cx="530352" cy="118872"/>
          </a:xfrm>
        </p:spPr>
        <p:txBody>
          <a:bodyPr/>
          <a:lstStyle>
            <a:lvl1pPr rtl="0">
              <a:defRPr sz="800" b="1" i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defRPr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476249" y="2612108"/>
            <a:ext cx="7143751" cy="811212"/>
          </a:xfrm>
        </p:spPr>
        <p:txBody>
          <a:bodyPr/>
          <a:lstStyle>
            <a:lvl1pPr rtl="0">
              <a:spcBef>
                <a:spcPts val="800"/>
              </a:spcBef>
              <a:defRPr>
                <a:solidFill>
                  <a:schemeClr val="bg2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0" indent="0">
              <a:buNone/>
              <a:defRPr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2pPr>
            <a:lvl3pPr>
              <a:defRPr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3pPr>
            <a:lvl4pPr>
              <a:defRPr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4pPr>
            <a:lvl5pPr>
              <a:defRPr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10064080" y="-1"/>
            <a:ext cx="2136888" cy="6872941"/>
            <a:chOff x="10064080" y="-1"/>
            <a:chExt cx="2136888" cy="6872941"/>
          </a:xfrm>
        </p:grpSpPr>
        <p:sp>
          <p:nvSpPr>
            <p:cNvPr id="13" name="Rectangle 12"/>
            <p:cNvSpPr/>
            <p:nvPr userDrawn="1"/>
          </p:nvSpPr>
          <p:spPr>
            <a:xfrm>
              <a:off x="10064080" y="-1"/>
              <a:ext cx="2127920" cy="687294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dirty="0">
                <a:latin typeface="Arial" panose="020B0604020202020204" pitchFamily="34" charset="0"/>
              </a:endParaRPr>
            </a:p>
          </p:txBody>
        </p:sp>
        <p:pic>
          <p:nvPicPr>
            <p:cNvPr id="9" name="Picture 8"/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67544" y="283"/>
              <a:ext cx="2133424" cy="68574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4563820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5249D25-7F33-499A-8909-D97EA673BD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7429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5249D25-7F33-499A-8909-D97EA673BD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7"/>
            <a:ext cx="11198597" cy="926767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2919" y="1289304"/>
            <a:ext cx="11198597" cy="4672584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marL="182563" indent="-182563" rtl="0">
              <a:defRPr>
                <a:latin typeface="Arial" panose="020B0604020202020204" pitchFamily="34" charset="0"/>
              </a:defRPr>
            </a:lvl2pPr>
            <a:lvl3pPr marL="457200" indent="-209550" rtl="0">
              <a:defRPr>
                <a:latin typeface="Arial" panose="020B0604020202020204" pitchFamily="34" charset="0"/>
              </a:defRPr>
            </a:lvl3pPr>
            <a:lvl4pPr marL="630238" indent="-168275" rtl="0">
              <a:defRPr>
                <a:latin typeface="Arial" panose="020B0604020202020204" pitchFamily="34" charset="0"/>
              </a:defRPr>
            </a:lvl4pPr>
            <a:lvl5pPr marL="854075" indent="-182563" rtl="0"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97280" y="6616700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15184" y="6619947"/>
            <a:ext cx="53949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02920" y="6620256"/>
            <a:ext cx="530352" cy="118872"/>
          </a:xfrm>
        </p:spPr>
        <p:txBody>
          <a:bodyPr/>
          <a:lstStyle>
            <a:lvl1pPr rtl="0">
              <a:defRPr sz="800"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596122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Content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EB7E4BE-1077-4F8B-8A0C-464C4F4A10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05209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EB7E4BE-1077-4F8B-8A0C-464C4F4A10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2920" y="1289304"/>
            <a:ext cx="11198597" cy="4672584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marL="182880" indent="-182880" rtl="0">
              <a:defRPr>
                <a:latin typeface="Arial" panose="020B0604020202020204" pitchFamily="34" charset="0"/>
              </a:defRPr>
            </a:lvl2pPr>
            <a:lvl3pPr marL="457200" indent="-209550" rtl="0">
              <a:defRPr>
                <a:latin typeface="Arial" panose="020B0604020202020204" pitchFamily="34" charset="0"/>
              </a:defRPr>
            </a:lvl3pPr>
            <a:lvl4pPr marL="627063" indent="-166688" rtl="0">
              <a:defRPr>
                <a:latin typeface="Arial" panose="020B0604020202020204" pitchFamily="34" charset="0"/>
              </a:defRPr>
            </a:lvl4pPr>
            <a:lvl5pPr marL="857250" indent="-182563" rtl="0"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97280" y="6616700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15184" y="6619947"/>
            <a:ext cx="53949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02920" y="6620256"/>
            <a:ext cx="530352" cy="118872"/>
          </a:xfrm>
        </p:spPr>
        <p:txBody>
          <a:bodyPr/>
          <a:lstStyle>
            <a:lvl1pPr rtl="0">
              <a:defRPr sz="800"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59" name="Text Placeholder 58"/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733133"/>
            <a:ext cx="11198284" cy="390099"/>
          </a:xfrm>
        </p:spPr>
        <p:txBody>
          <a:bodyPr/>
          <a:lstStyle>
            <a:lvl1pPr rtl="0">
              <a:defRPr sz="240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1pPr>
            <a:lvl2pPr marL="0" indent="0">
              <a:buNone/>
              <a:defRPr>
                <a:solidFill>
                  <a:schemeClr val="accent1"/>
                </a:solidFill>
                <a:latin typeface="Roboto" pitchFamily="2" charset="0"/>
                <a:ea typeface="Roboto" pitchFamily="2" charset="0"/>
              </a:defRPr>
            </a:lvl2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8"/>
            <a:ext cx="11198597" cy="484632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257605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EB8496-D55C-46BE-9B85-C9C1D5DC6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3653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EB8496-D55C-46BE-9B85-C9C1D5DC6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97280" y="6616700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15184" y="6619947"/>
            <a:ext cx="53949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02920" y="6620256"/>
            <a:ext cx="530352" cy="118872"/>
          </a:xfrm>
        </p:spPr>
        <p:txBody>
          <a:bodyPr/>
          <a:lstStyle>
            <a:lvl1pPr rtl="0">
              <a:defRPr sz="800"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8"/>
            <a:ext cx="11198597" cy="923544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751849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Title Sub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F86814A-275F-43D3-A7B9-02C9437DC3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0050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F86814A-275F-43D3-A7B9-02C9437DC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97280" y="6616700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15184" y="6619947"/>
            <a:ext cx="53949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02920" y="6620256"/>
            <a:ext cx="530352" cy="118872"/>
          </a:xfrm>
        </p:spPr>
        <p:txBody>
          <a:bodyPr/>
          <a:lstStyle>
            <a:lvl1pPr rtl="0">
              <a:defRPr sz="800"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59" name="Text Placeholder 58"/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722247"/>
            <a:ext cx="11198284" cy="390099"/>
          </a:xfrm>
        </p:spPr>
        <p:txBody>
          <a:bodyPr/>
          <a:lstStyle>
            <a:lvl1pPr rtl="0">
              <a:defRPr sz="240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1pPr>
            <a:lvl2pPr rtl="0">
              <a:defRPr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2pPr>
          </a:lstStyle>
          <a:p>
            <a:pPr lvl="0"/>
            <a:r>
              <a:rPr lang="en-US"/>
              <a:t>Subhead goes here</a:t>
            </a:r>
          </a:p>
          <a:p>
            <a:pPr lvl="1"/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8"/>
            <a:ext cx="11198597" cy="484632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951533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39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1E617D7F-ABC2-B54B-B054-76FDCC818417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E8BB4E7-2998-4187-B675-6E0E0873E5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3392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E8BB4E7-2998-4187-B675-6E0E0873E5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97280" y="6616700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15184" y="6619947"/>
            <a:ext cx="53949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02920" y="6620256"/>
            <a:ext cx="530352" cy="118872"/>
          </a:xfrm>
        </p:spPr>
        <p:txBody>
          <a:bodyPr/>
          <a:lstStyle>
            <a:lvl1pPr rtl="0">
              <a:defRPr sz="800"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2858611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ilent 16:9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5183C2C-F97C-4C99-A3CE-A4022D1A49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9165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5183C2C-F97C-4C99-A3CE-A4022D1A49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/>
        </p:nvSpPr>
        <p:spPr>
          <a:xfrm>
            <a:off x="3658171" y="2752035"/>
            <a:ext cx="304797" cy="373346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4862820" y="2752035"/>
            <a:ext cx="7024380" cy="373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-2" y="2752035"/>
            <a:ext cx="3663924" cy="373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5098" y="386498"/>
            <a:ext cx="11198901" cy="1362075"/>
          </a:xfrm>
        </p:spPr>
        <p:txBody>
          <a:bodyPr vert="horz" anchor="b" anchorCtr="0">
            <a:noAutofit/>
          </a:bodyPr>
          <a:lstStyle>
            <a:lvl1pPr rtl="0">
              <a:defRPr sz="2800" b="0" cap="none" baseline="0">
                <a:solidFill>
                  <a:schemeClr val="accent1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5098" y="1748574"/>
            <a:ext cx="11198901" cy="861496"/>
          </a:xfrm>
        </p:spPr>
        <p:txBody>
          <a:bodyPr>
            <a:normAutofit/>
          </a:bodyPr>
          <a:lstStyle>
            <a:lvl1pPr marL="0" indent="0" rtl="0">
              <a:buNone/>
              <a:defRPr sz="2600">
                <a:solidFill>
                  <a:schemeClr val="tx1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1097280" y="6621625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2615184" y="6621625"/>
            <a:ext cx="5212080" cy="118872"/>
          </a:xfrm>
        </p:spPr>
        <p:txBody>
          <a:bodyPr/>
          <a:lstStyle>
            <a:lvl1pPr algn="l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502920" y="6621625"/>
            <a:ext cx="530352" cy="118872"/>
          </a:xfrm>
        </p:spPr>
        <p:txBody>
          <a:bodyPr/>
          <a:lstStyle>
            <a:lvl1pPr rtl="0">
              <a:defRPr sz="800" b="1" i="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defRPr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9" name="Rectangle 18"/>
          <p:cNvSpPr/>
          <p:nvPr/>
        </p:nvSpPr>
        <p:spPr>
          <a:xfrm>
            <a:off x="11887199" y="2752035"/>
            <a:ext cx="304799" cy="373346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3962969" y="2752035"/>
            <a:ext cx="899851" cy="37334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0" name="AutoShape 3"/>
          <p:cNvSpPr>
            <a:spLocks noChangeAspect="1" noChangeArrowheads="1" noTextEdit="1"/>
          </p:cNvSpPr>
          <p:nvPr/>
        </p:nvSpPr>
        <p:spPr bwMode="auto">
          <a:xfrm>
            <a:off x="7498971" y="532271"/>
            <a:ext cx="2171700" cy="909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3" name="Rectangle 32"/>
          <p:cNvSpPr/>
          <p:nvPr userDrawn="1"/>
        </p:nvSpPr>
        <p:spPr>
          <a:xfrm>
            <a:off x="11887199" y="2752035"/>
            <a:ext cx="304799" cy="373346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" y="6494482"/>
            <a:ext cx="12304527" cy="374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350323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ilent 16:9 Divider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8C9CFF8-B535-4E4A-8271-8756C857E8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3436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8C9CFF8-B535-4E4A-8271-8756C857E8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/>
          <p:cNvSpPr/>
          <p:nvPr/>
        </p:nvSpPr>
        <p:spPr>
          <a:xfrm>
            <a:off x="3658171" y="2752035"/>
            <a:ext cx="304797" cy="373346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4862819" y="2752035"/>
            <a:ext cx="7024379" cy="3733460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1" name="Rectangle 20"/>
          <p:cNvSpPr/>
          <p:nvPr/>
        </p:nvSpPr>
        <p:spPr>
          <a:xfrm>
            <a:off x="-2" y="2752035"/>
            <a:ext cx="3663924" cy="373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11887199" y="2752035"/>
            <a:ext cx="304799" cy="373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3962969" y="2752035"/>
            <a:ext cx="899851" cy="37334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85098" y="386498"/>
            <a:ext cx="11198901" cy="1362075"/>
          </a:xfrm>
        </p:spPr>
        <p:txBody>
          <a:bodyPr vert="horz" anchor="b" anchorCtr="0">
            <a:noAutofit/>
          </a:bodyPr>
          <a:lstStyle>
            <a:lvl1pPr rtl="0">
              <a:defRPr sz="2800" b="0" cap="none" baseline="0">
                <a:solidFill>
                  <a:schemeClr val="accent1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485098" y="1748573"/>
            <a:ext cx="11198901" cy="861496"/>
          </a:xfrm>
        </p:spPr>
        <p:txBody>
          <a:bodyPr>
            <a:normAutofit/>
          </a:bodyPr>
          <a:lstStyle>
            <a:lvl1pPr marL="0" indent="0" rtl="0">
              <a:buNone/>
              <a:defRPr sz="2600">
                <a:solidFill>
                  <a:schemeClr val="tx1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1097280" y="6621625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2615184" y="6621625"/>
            <a:ext cx="5212080" cy="118872"/>
          </a:xfrm>
        </p:spPr>
        <p:txBody>
          <a:bodyPr/>
          <a:lstStyle>
            <a:lvl1pPr algn="l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502920" y="6621625"/>
            <a:ext cx="530352" cy="118872"/>
          </a:xfrm>
        </p:spPr>
        <p:txBody>
          <a:bodyPr/>
          <a:lstStyle>
            <a:lvl1pPr rtl="0">
              <a:defRPr sz="800" b="1" i="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defRPr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" y="6494483"/>
            <a:ext cx="12190476" cy="371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67296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ilent 16:9 Divider 2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B197A7C-4552-47A7-817E-BCDF278AB1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61262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B197A7C-4552-47A7-817E-BCDF278AB1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-1" y="2752035"/>
            <a:ext cx="3663924" cy="3733460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5098" y="386498"/>
            <a:ext cx="11198901" cy="1362075"/>
          </a:xfrm>
        </p:spPr>
        <p:txBody>
          <a:bodyPr vert="horz" anchor="b" anchorCtr="0">
            <a:noAutofit/>
          </a:bodyPr>
          <a:lstStyle>
            <a:lvl1pPr rtl="0">
              <a:defRPr sz="2800" b="0" cap="none" baseline="0">
                <a:solidFill>
                  <a:schemeClr val="accent1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5098" y="1748573"/>
            <a:ext cx="11198901" cy="861496"/>
          </a:xfrm>
        </p:spPr>
        <p:txBody>
          <a:bodyPr>
            <a:normAutofit/>
          </a:bodyPr>
          <a:lstStyle>
            <a:lvl1pPr marL="0" indent="0" rtl="0">
              <a:buNone/>
              <a:defRPr sz="2600">
                <a:solidFill>
                  <a:schemeClr val="tx1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1097280" y="6621625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2615184" y="6621625"/>
            <a:ext cx="5212080" cy="118872"/>
          </a:xfrm>
        </p:spPr>
        <p:txBody>
          <a:bodyPr/>
          <a:lstStyle>
            <a:lvl1pPr algn="l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502920" y="6621625"/>
            <a:ext cx="530352" cy="118872"/>
          </a:xfrm>
        </p:spPr>
        <p:txBody>
          <a:bodyPr/>
          <a:lstStyle>
            <a:lvl1pPr rtl="0">
              <a:defRPr sz="800" b="1" i="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defRPr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4862819" y="2752035"/>
            <a:ext cx="7024379" cy="3733460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4" name="Rectangle 23"/>
          <p:cNvSpPr/>
          <p:nvPr/>
        </p:nvSpPr>
        <p:spPr>
          <a:xfrm>
            <a:off x="11887199" y="2752035"/>
            <a:ext cx="304799" cy="3733460"/>
          </a:xfrm>
          <a:prstGeom prst="rect">
            <a:avLst/>
          </a:prstGeom>
          <a:solidFill>
            <a:srgbClr val="0085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3962969" y="2752035"/>
            <a:ext cx="899851" cy="373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3658171" y="2752035"/>
            <a:ext cx="304797" cy="373346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" y="6494483"/>
            <a:ext cx="12190476" cy="371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685482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ilent 16:9 Divider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8AE77A2-AAB6-4BC0-8A34-B5FCAA2969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8257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8AE77A2-AAB6-4BC0-8A34-B5FCAA2969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/>
        </p:nvSpPr>
        <p:spPr>
          <a:xfrm>
            <a:off x="8540409" y="2752035"/>
            <a:ext cx="603503" cy="373346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0668000" y="2752035"/>
            <a:ext cx="1524000" cy="373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00347" y="2752035"/>
            <a:ext cx="8240061" cy="373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5098" y="386498"/>
            <a:ext cx="11198901" cy="1362075"/>
          </a:xfrm>
        </p:spPr>
        <p:txBody>
          <a:bodyPr vert="horz" anchor="b" anchorCtr="0">
            <a:noAutofit/>
          </a:bodyPr>
          <a:lstStyle>
            <a:lvl1pPr rtl="0">
              <a:defRPr sz="2800" b="0" cap="none" baseline="0">
                <a:solidFill>
                  <a:schemeClr val="accent1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5098" y="1748574"/>
            <a:ext cx="11198901" cy="861496"/>
          </a:xfrm>
        </p:spPr>
        <p:txBody>
          <a:bodyPr>
            <a:normAutofit/>
          </a:bodyPr>
          <a:lstStyle>
            <a:lvl1pPr marL="0" indent="0" rtl="0">
              <a:buNone/>
              <a:defRPr sz="2600">
                <a:solidFill>
                  <a:schemeClr val="tx1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1097280" y="6621625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2615184" y="6621625"/>
            <a:ext cx="5212080" cy="118872"/>
          </a:xfrm>
        </p:spPr>
        <p:txBody>
          <a:bodyPr/>
          <a:lstStyle>
            <a:lvl1pPr algn="l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502920" y="6621625"/>
            <a:ext cx="530352" cy="118872"/>
          </a:xfrm>
        </p:spPr>
        <p:txBody>
          <a:bodyPr/>
          <a:lstStyle>
            <a:lvl1pPr rtl="0">
              <a:defRPr sz="800" b="1" i="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defRPr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20" name="Rectangle 19"/>
          <p:cNvSpPr/>
          <p:nvPr/>
        </p:nvSpPr>
        <p:spPr>
          <a:xfrm>
            <a:off x="9143913" y="2752035"/>
            <a:ext cx="1524087" cy="37334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-2" y="2752035"/>
            <a:ext cx="300349" cy="3733460"/>
          </a:xfrm>
          <a:prstGeom prst="rect">
            <a:avLst/>
          </a:prstGeom>
          <a:solidFill>
            <a:srgbClr val="00A9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" y="6494483"/>
            <a:ext cx="12190476" cy="371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013050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ilent 16:9 Divider Al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9EDC6F-D2D7-464F-9A3C-8238CDD481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9457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9EDC6F-D2D7-464F-9A3C-8238CDD481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/>
          <p:cNvSpPr/>
          <p:nvPr/>
        </p:nvSpPr>
        <p:spPr>
          <a:xfrm>
            <a:off x="8540409" y="2752035"/>
            <a:ext cx="603503" cy="373346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300347" y="2752035"/>
            <a:ext cx="8240061" cy="3733460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85098" y="386498"/>
            <a:ext cx="11198901" cy="1362075"/>
          </a:xfrm>
        </p:spPr>
        <p:txBody>
          <a:bodyPr vert="horz" anchor="b" anchorCtr="0">
            <a:noAutofit/>
          </a:bodyPr>
          <a:lstStyle>
            <a:lvl1pPr rtl="0">
              <a:defRPr sz="2800" b="0" cap="none" baseline="0">
                <a:solidFill>
                  <a:schemeClr val="accent1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"/>
          </p:nvPr>
        </p:nvSpPr>
        <p:spPr>
          <a:xfrm>
            <a:off x="485098" y="1748574"/>
            <a:ext cx="11198901" cy="861496"/>
          </a:xfrm>
        </p:spPr>
        <p:txBody>
          <a:bodyPr>
            <a:normAutofit/>
          </a:bodyPr>
          <a:lstStyle>
            <a:lvl1pPr marL="0" indent="0" rtl="0">
              <a:buNone/>
              <a:defRPr sz="2600">
                <a:solidFill>
                  <a:schemeClr val="tx1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1097280" y="6621625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2615184" y="6621625"/>
            <a:ext cx="5212080" cy="118872"/>
          </a:xfrm>
        </p:spPr>
        <p:txBody>
          <a:bodyPr/>
          <a:lstStyle>
            <a:lvl1pPr algn="l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502920" y="6621625"/>
            <a:ext cx="530352" cy="118872"/>
          </a:xfrm>
        </p:spPr>
        <p:txBody>
          <a:bodyPr/>
          <a:lstStyle>
            <a:lvl1pPr rtl="0">
              <a:defRPr sz="800" b="1" i="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defRPr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23" name="Rectangle 22"/>
          <p:cNvSpPr/>
          <p:nvPr/>
        </p:nvSpPr>
        <p:spPr>
          <a:xfrm>
            <a:off x="10668000" y="2752035"/>
            <a:ext cx="1524000" cy="373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9143913" y="2752035"/>
            <a:ext cx="1524087" cy="37334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-2" y="2752035"/>
            <a:ext cx="300349" cy="373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" y="6494483"/>
            <a:ext cx="12190476" cy="371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170292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2-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6862E82-2BA4-4C5C-8A92-DD5BF48823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86928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6862E82-2BA4-4C5C-8A92-DD5BF48823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2920" y="1287522"/>
            <a:ext cx="5493389" cy="4887306"/>
          </a:xfrm>
        </p:spPr>
        <p:txBody>
          <a:bodyPr/>
          <a:lstStyle>
            <a:lvl1pPr rtl="0">
              <a:defRPr sz="2100">
                <a:latin typeface="Arial" panose="020B0604020202020204" pitchFamily="34" charset="0"/>
              </a:defRPr>
            </a:lvl1pPr>
            <a:lvl2pPr rtl="0">
              <a:defRPr sz="1900">
                <a:latin typeface="Arial" panose="020B0604020202020204" pitchFamily="34" charset="0"/>
              </a:defRPr>
            </a:lvl2pPr>
            <a:lvl3pPr marL="457200" indent="-230188" rtl="0">
              <a:defRPr sz="1700">
                <a:latin typeface="Arial" panose="020B0604020202020204" pitchFamily="34" charset="0"/>
              </a:defRPr>
            </a:lvl3pPr>
            <a:lvl4pPr rtl="0">
              <a:defRPr sz="1700">
                <a:latin typeface="Arial" panose="020B0604020202020204" pitchFamily="34" charset="0"/>
              </a:defRPr>
            </a:lvl4pPr>
            <a:lvl5pPr rtl="0">
              <a:defRPr sz="150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9861" y="1287522"/>
            <a:ext cx="5491655" cy="4887306"/>
          </a:xfrm>
        </p:spPr>
        <p:txBody>
          <a:bodyPr/>
          <a:lstStyle>
            <a:lvl1pPr rtl="0">
              <a:defRPr sz="2100">
                <a:latin typeface="Arial" panose="020B0604020202020204" pitchFamily="34" charset="0"/>
              </a:defRPr>
            </a:lvl1pPr>
            <a:lvl2pPr rtl="0">
              <a:defRPr sz="1900">
                <a:latin typeface="Arial" panose="020B0604020202020204" pitchFamily="34" charset="0"/>
              </a:defRPr>
            </a:lvl2pPr>
            <a:lvl3pPr rtl="0">
              <a:defRPr sz="1700">
                <a:latin typeface="Arial" panose="020B0604020202020204" pitchFamily="34" charset="0"/>
              </a:defRPr>
            </a:lvl3pPr>
            <a:lvl4pPr rtl="0">
              <a:defRPr sz="1700">
                <a:latin typeface="Arial" panose="020B0604020202020204" pitchFamily="34" charset="0"/>
              </a:defRPr>
            </a:lvl4pPr>
            <a:lvl5pPr rtl="0">
              <a:defRPr sz="150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7"/>
            <a:ext cx="11198597" cy="926767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8383774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ilent 16:9 2-Col Lef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6862E82-2BA4-4C5C-8A92-DD5BF48823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86928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6862E82-2BA4-4C5C-8A92-DD5BF48823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2920" y="1287522"/>
            <a:ext cx="5493389" cy="4887306"/>
          </a:xfrm>
        </p:spPr>
        <p:txBody>
          <a:bodyPr>
            <a:noAutofit/>
          </a:bodyPr>
          <a:lstStyle>
            <a:lvl1pPr rtl="0">
              <a:defRPr sz="1400">
                <a:latin typeface="Arial" panose="020B0604020202020204" pitchFamily="34" charset="0"/>
              </a:defRPr>
            </a:lvl1pPr>
            <a:lvl2pPr marL="458788" indent="-225425" rtl="0">
              <a:buFont typeface="System Font Regular"/>
              <a:buChar char="–"/>
              <a:tabLst/>
              <a:defRPr sz="1200">
                <a:latin typeface="Arial" panose="020B0604020202020204" pitchFamily="34" charset="0"/>
              </a:defRPr>
            </a:lvl2pPr>
            <a:lvl3pPr marL="635000" indent="-176213" rtl="0">
              <a:buFont typeface="Arial" panose="020B0604020202020204" pitchFamily="34" charset="0"/>
              <a:buChar char="•"/>
              <a:tabLst/>
              <a:defRPr sz="1200">
                <a:latin typeface="Arial" panose="020B0604020202020204" pitchFamily="34" charset="0"/>
              </a:defRPr>
            </a:lvl3pPr>
            <a:lvl4pPr marL="858838" indent="-166688" rtl="0">
              <a:buFont typeface="System Font Regular"/>
              <a:buChar char="–"/>
              <a:tabLst/>
              <a:defRPr sz="1200">
                <a:latin typeface="Arial" panose="020B0604020202020204" pitchFamily="34" charset="0"/>
              </a:defRPr>
            </a:lvl4pPr>
            <a:lvl5pPr rtl="0">
              <a:defRPr sz="110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7"/>
            <a:ext cx="11198597" cy="926767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693080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2-Col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4BB4876-1A88-4F80-A769-86A0F4A251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71082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4BB4876-1A88-4F80-A769-86A0F4A251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2920" y="1287522"/>
            <a:ext cx="5493389" cy="4887306"/>
          </a:xfrm>
        </p:spPr>
        <p:txBody>
          <a:bodyPr/>
          <a:lstStyle>
            <a:lvl1pPr rtl="0">
              <a:defRPr sz="2100">
                <a:latin typeface="Arial" panose="020B0604020202020204" pitchFamily="34" charset="0"/>
              </a:defRPr>
            </a:lvl1pPr>
            <a:lvl2pPr rtl="0">
              <a:defRPr sz="1900">
                <a:latin typeface="Arial" panose="020B0604020202020204" pitchFamily="34" charset="0"/>
              </a:defRPr>
            </a:lvl2pPr>
            <a:lvl3pPr marL="457200" indent="-230188" rtl="0">
              <a:defRPr sz="1700">
                <a:latin typeface="Arial" panose="020B0604020202020204" pitchFamily="34" charset="0"/>
              </a:defRPr>
            </a:lvl3pPr>
            <a:lvl4pPr rtl="0">
              <a:defRPr sz="1700">
                <a:latin typeface="Arial" panose="020B0604020202020204" pitchFamily="34" charset="0"/>
              </a:defRPr>
            </a:lvl4pPr>
            <a:lvl5pPr rtl="0">
              <a:defRPr sz="150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9861" y="1287522"/>
            <a:ext cx="5491655" cy="4887306"/>
          </a:xfrm>
        </p:spPr>
        <p:txBody>
          <a:bodyPr/>
          <a:lstStyle>
            <a:lvl1pPr rtl="0">
              <a:defRPr sz="2100">
                <a:latin typeface="Arial" panose="020B0604020202020204" pitchFamily="34" charset="0"/>
              </a:defRPr>
            </a:lvl1pPr>
            <a:lvl2pPr rtl="0">
              <a:defRPr sz="1900">
                <a:latin typeface="Arial" panose="020B0604020202020204" pitchFamily="34" charset="0"/>
              </a:defRPr>
            </a:lvl2pPr>
            <a:lvl3pPr rtl="0">
              <a:defRPr sz="1700">
                <a:latin typeface="Arial" panose="020B0604020202020204" pitchFamily="34" charset="0"/>
              </a:defRPr>
            </a:lvl3pPr>
            <a:lvl4pPr rtl="0">
              <a:defRPr sz="1700">
                <a:latin typeface="Arial" panose="020B0604020202020204" pitchFamily="34" charset="0"/>
              </a:defRPr>
            </a:lvl4pPr>
            <a:lvl5pPr rtl="0">
              <a:defRPr sz="150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7"/>
            <a:ext cx="11198597" cy="484632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58"/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733133"/>
            <a:ext cx="11198284" cy="390099"/>
          </a:xfrm>
        </p:spPr>
        <p:txBody>
          <a:bodyPr/>
          <a:lstStyle>
            <a:lvl1pPr rtl="0">
              <a:defRPr sz="240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1pPr>
            <a:lvl2pPr marL="0" indent="0">
              <a:buNone/>
              <a:defRPr>
                <a:solidFill>
                  <a:schemeClr val="accent1"/>
                </a:solidFill>
                <a:latin typeface="Roboto" pitchFamily="2" charset="0"/>
                <a:ea typeface="Roboto" pitchFamily="2" charset="0"/>
              </a:defRPr>
            </a:lvl2pPr>
          </a:lstStyle>
          <a:p>
            <a:pPr lvl="0"/>
            <a:r>
              <a:rPr lang="en-US"/>
              <a:t>Subhead goes here</a:t>
            </a:r>
          </a:p>
        </p:txBody>
      </p:sp>
    </p:spTree>
    <p:extLst>
      <p:ext uri="{BB962C8B-B14F-4D97-AF65-F5344CB8AC3E}">
        <p14:creationId xmlns:p14="http://schemas.microsoft.com/office/powerpoint/2010/main" val="122288588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2-Col +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1F76DA3-0AB6-425A-9A4A-DE63CB1CA2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438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1F76DA3-0AB6-425A-9A4A-DE63CB1CA2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2920" y="1284188"/>
            <a:ext cx="5495544" cy="357695"/>
          </a:xfrm>
        </p:spPr>
        <p:txBody>
          <a:bodyPr anchor="ctr">
            <a:noAutofit/>
          </a:bodyPr>
          <a:lstStyle>
            <a:lvl1pPr marL="0" indent="0" rtl="0">
              <a:buNone/>
              <a:defRPr sz="2200" b="0">
                <a:solidFill>
                  <a:schemeClr val="accent4"/>
                </a:solidFill>
                <a:latin typeface="Arial" panose="020B0604020202020204" pitchFamily="34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09862" y="1284188"/>
            <a:ext cx="5491654" cy="357695"/>
          </a:xfrm>
        </p:spPr>
        <p:txBody>
          <a:bodyPr anchor="ctr">
            <a:noAutofit/>
          </a:bodyPr>
          <a:lstStyle>
            <a:lvl1pPr marL="0" indent="0" rtl="0">
              <a:buNone/>
              <a:defRPr sz="2200" b="0">
                <a:solidFill>
                  <a:schemeClr val="accent4"/>
                </a:solidFill>
                <a:latin typeface="Arial" panose="020B0604020202020204" pitchFamily="34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0" name="Content Placeholder 2"/>
          <p:cNvSpPr>
            <a:spLocks noGrp="1"/>
          </p:cNvSpPr>
          <p:nvPr>
            <p:ph sz="half" idx="13"/>
          </p:nvPr>
        </p:nvSpPr>
        <p:spPr>
          <a:xfrm>
            <a:off x="502920" y="1751724"/>
            <a:ext cx="5493389" cy="4423103"/>
          </a:xfrm>
        </p:spPr>
        <p:txBody>
          <a:bodyPr/>
          <a:lstStyle>
            <a:lvl1pPr rtl="0">
              <a:defRPr sz="2100">
                <a:latin typeface="Arial" panose="020B0604020202020204" pitchFamily="34" charset="0"/>
              </a:defRPr>
            </a:lvl1pPr>
            <a:lvl2pPr rtl="0">
              <a:defRPr sz="1900">
                <a:latin typeface="Arial" panose="020B0604020202020204" pitchFamily="34" charset="0"/>
              </a:defRPr>
            </a:lvl2pPr>
            <a:lvl3pPr marL="457200" indent="-230188" rtl="0">
              <a:defRPr sz="1700">
                <a:latin typeface="Arial" panose="020B0604020202020204" pitchFamily="34" charset="0"/>
              </a:defRPr>
            </a:lvl3pPr>
            <a:lvl4pPr rtl="0">
              <a:defRPr sz="1700">
                <a:latin typeface="Arial" panose="020B0604020202020204" pitchFamily="34" charset="0"/>
              </a:defRPr>
            </a:lvl4pPr>
            <a:lvl5pPr rtl="0">
              <a:defRPr sz="150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14"/>
          </p:nvPr>
        </p:nvSpPr>
        <p:spPr>
          <a:xfrm>
            <a:off x="6209861" y="1751724"/>
            <a:ext cx="5491655" cy="4423103"/>
          </a:xfrm>
        </p:spPr>
        <p:txBody>
          <a:bodyPr/>
          <a:lstStyle>
            <a:lvl1pPr rtl="0">
              <a:defRPr sz="2100">
                <a:latin typeface="Arial" panose="020B0604020202020204" pitchFamily="34" charset="0"/>
              </a:defRPr>
            </a:lvl1pPr>
            <a:lvl2pPr rtl="0">
              <a:defRPr sz="1900">
                <a:latin typeface="Arial" panose="020B0604020202020204" pitchFamily="34" charset="0"/>
              </a:defRPr>
            </a:lvl2pPr>
            <a:lvl3pPr rtl="0">
              <a:defRPr sz="1700">
                <a:latin typeface="Arial" panose="020B0604020202020204" pitchFamily="34" charset="0"/>
              </a:defRPr>
            </a:lvl3pPr>
            <a:lvl4pPr rtl="0">
              <a:defRPr sz="1700">
                <a:latin typeface="Arial" panose="020B0604020202020204" pitchFamily="34" charset="0"/>
              </a:defRPr>
            </a:lvl4pPr>
            <a:lvl5pPr rtl="0">
              <a:defRPr sz="150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7"/>
            <a:ext cx="11198597" cy="926767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692355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3521" y="109874"/>
            <a:ext cx="11191950" cy="1039658"/>
          </a:xfrm>
          <a:prstGeom prst="rect">
            <a:avLst/>
          </a:prstGeom>
        </p:spPr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1E617D7F-ABC2-B54B-B054-76FDCC818417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B8071AF-83A3-724F-A70A-1CBDCD65A0D7}"/>
              </a:ext>
            </a:extLst>
          </p:cNvPr>
          <p:cNvSpPr txBox="1"/>
          <p:nvPr userDrawn="1"/>
        </p:nvSpPr>
        <p:spPr>
          <a:xfrm>
            <a:off x="5976850" y="6293721"/>
            <a:ext cx="8194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bg2">
                    <a:lumMod val="10000"/>
                  </a:schemeClr>
                </a:solidFill>
              </a:rPr>
              <a:t>DRAFT</a:t>
            </a: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2-Col Sub +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49B0474-A1EE-4F52-A330-F6CCF229A6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46415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49B0474-A1EE-4F52-A330-F6CCF229A6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2920" y="1284188"/>
            <a:ext cx="5495544" cy="357695"/>
          </a:xfrm>
        </p:spPr>
        <p:txBody>
          <a:bodyPr anchor="ctr">
            <a:noAutofit/>
          </a:bodyPr>
          <a:lstStyle>
            <a:lvl1pPr marL="0" indent="0" rtl="0">
              <a:buNone/>
              <a:defRPr sz="2200" b="0">
                <a:solidFill>
                  <a:schemeClr val="accent4"/>
                </a:solidFill>
                <a:latin typeface="Arial" panose="020B0604020202020204" pitchFamily="34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09862" y="1284188"/>
            <a:ext cx="5491654" cy="357695"/>
          </a:xfrm>
        </p:spPr>
        <p:txBody>
          <a:bodyPr anchor="ctr">
            <a:noAutofit/>
          </a:bodyPr>
          <a:lstStyle>
            <a:lvl1pPr marL="0" indent="0" rtl="0">
              <a:buNone/>
              <a:defRPr sz="2200" b="0">
                <a:solidFill>
                  <a:schemeClr val="accent4"/>
                </a:solidFill>
                <a:latin typeface="Arial" panose="020B0604020202020204" pitchFamily="34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0" name="Content Placeholder 2"/>
          <p:cNvSpPr>
            <a:spLocks noGrp="1"/>
          </p:cNvSpPr>
          <p:nvPr>
            <p:ph sz="half" idx="13"/>
          </p:nvPr>
        </p:nvSpPr>
        <p:spPr>
          <a:xfrm>
            <a:off x="502920" y="1751724"/>
            <a:ext cx="5493389" cy="4423103"/>
          </a:xfrm>
        </p:spPr>
        <p:txBody>
          <a:bodyPr/>
          <a:lstStyle>
            <a:lvl1pPr rtl="0">
              <a:defRPr sz="2100">
                <a:latin typeface="Arial" panose="020B0604020202020204" pitchFamily="34" charset="0"/>
              </a:defRPr>
            </a:lvl1pPr>
            <a:lvl2pPr rtl="0">
              <a:defRPr sz="1900">
                <a:latin typeface="Arial" panose="020B0604020202020204" pitchFamily="34" charset="0"/>
              </a:defRPr>
            </a:lvl2pPr>
            <a:lvl3pPr marL="457200" indent="-230188" rtl="0">
              <a:defRPr sz="1700">
                <a:latin typeface="Arial" panose="020B0604020202020204" pitchFamily="34" charset="0"/>
              </a:defRPr>
            </a:lvl3pPr>
            <a:lvl4pPr rtl="0">
              <a:defRPr sz="1700">
                <a:latin typeface="Arial" panose="020B0604020202020204" pitchFamily="34" charset="0"/>
              </a:defRPr>
            </a:lvl4pPr>
            <a:lvl5pPr rtl="0">
              <a:defRPr sz="150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14"/>
          </p:nvPr>
        </p:nvSpPr>
        <p:spPr>
          <a:xfrm>
            <a:off x="6209861" y="1751724"/>
            <a:ext cx="5491655" cy="4423103"/>
          </a:xfrm>
        </p:spPr>
        <p:txBody>
          <a:bodyPr/>
          <a:lstStyle>
            <a:lvl1pPr rtl="0">
              <a:defRPr sz="2100">
                <a:latin typeface="Arial" panose="020B0604020202020204" pitchFamily="34" charset="0"/>
              </a:defRPr>
            </a:lvl1pPr>
            <a:lvl2pPr rtl="0">
              <a:defRPr sz="1900">
                <a:latin typeface="Arial" panose="020B0604020202020204" pitchFamily="34" charset="0"/>
              </a:defRPr>
            </a:lvl2pPr>
            <a:lvl3pPr rtl="0">
              <a:defRPr sz="1700">
                <a:latin typeface="Arial" panose="020B0604020202020204" pitchFamily="34" charset="0"/>
              </a:defRPr>
            </a:lvl3pPr>
            <a:lvl4pPr rtl="0">
              <a:defRPr sz="1700">
                <a:latin typeface="Arial" panose="020B0604020202020204" pitchFamily="34" charset="0"/>
              </a:defRPr>
            </a:lvl4pPr>
            <a:lvl5pPr rtl="0">
              <a:defRPr sz="150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7"/>
            <a:ext cx="11198597" cy="484632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58"/>
          <p:cNvSpPr>
            <a:spLocks noGrp="1"/>
          </p:cNvSpPr>
          <p:nvPr>
            <p:ph type="body" sz="quarter" idx="15" hasCustomPrompt="1"/>
          </p:nvPr>
        </p:nvSpPr>
        <p:spPr>
          <a:xfrm>
            <a:off x="503238" y="733133"/>
            <a:ext cx="11198284" cy="390099"/>
          </a:xfrm>
        </p:spPr>
        <p:txBody>
          <a:bodyPr/>
          <a:lstStyle>
            <a:lvl1pPr rtl="0">
              <a:defRPr sz="240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1pPr>
            <a:lvl2pPr marL="0" indent="0">
              <a:buNone/>
              <a:defRPr>
                <a:solidFill>
                  <a:schemeClr val="accent1"/>
                </a:solidFill>
                <a:latin typeface="Roboto" pitchFamily="2" charset="0"/>
                <a:ea typeface="Roboto" pitchFamily="2" charset="0"/>
              </a:defRPr>
            </a:lvl2pPr>
          </a:lstStyle>
          <a:p>
            <a:pPr lvl="0"/>
            <a:r>
              <a:rPr lang="en-US"/>
              <a:t>Subhead goes here</a:t>
            </a:r>
          </a:p>
        </p:txBody>
      </p:sp>
    </p:spTree>
    <p:extLst>
      <p:ext uri="{BB962C8B-B14F-4D97-AF65-F5344CB8AC3E}">
        <p14:creationId xmlns:p14="http://schemas.microsoft.com/office/powerpoint/2010/main" val="350686696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Cont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2F4A768-9BB6-4607-9F09-B9FD515F2C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91407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2F4A768-9BB6-4607-9F09-B9FD515F2C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97280" y="6618854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15184" y="6619947"/>
            <a:ext cx="53949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02920" y="6620256"/>
            <a:ext cx="438912" cy="118872"/>
          </a:xfrm>
        </p:spPr>
        <p:txBody>
          <a:bodyPr/>
          <a:lstStyle>
            <a:lvl1pPr rtl="0">
              <a:defRPr sz="800"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3989507" y="1287522"/>
            <a:ext cx="7712015" cy="4887306"/>
          </a:xfrm>
          <a:solidFill>
            <a:schemeClr val="bg2">
              <a:lumMod val="95000"/>
            </a:schemeClr>
          </a:solidFill>
        </p:spPr>
        <p:txBody>
          <a:bodyPr/>
          <a:lstStyle>
            <a:lvl1pPr rtl="0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Text Placeholder 58"/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722247"/>
            <a:ext cx="11198284" cy="390099"/>
          </a:xfrm>
        </p:spPr>
        <p:txBody>
          <a:bodyPr/>
          <a:lstStyle>
            <a:lvl1pPr rtl="0">
              <a:defRPr sz="240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1pPr>
            <a:lvl2pPr rtl="0">
              <a:defRPr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2pPr>
          </a:lstStyle>
          <a:p>
            <a:pPr lvl="0"/>
            <a:r>
              <a:rPr lang="en-US"/>
              <a:t>Subhead goes here</a:t>
            </a:r>
          </a:p>
          <a:p>
            <a:pPr lvl="1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8"/>
            <a:ext cx="11198597" cy="484632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half" idx="1"/>
          </p:nvPr>
        </p:nvSpPr>
        <p:spPr>
          <a:xfrm>
            <a:off x="502920" y="1287522"/>
            <a:ext cx="3342005" cy="4887306"/>
          </a:xfrm>
        </p:spPr>
        <p:txBody>
          <a:bodyPr/>
          <a:lstStyle>
            <a:lvl1pPr rtl="0">
              <a:defRPr sz="2100">
                <a:latin typeface="Arial" panose="020B0604020202020204" pitchFamily="34" charset="0"/>
              </a:defRPr>
            </a:lvl1pPr>
            <a:lvl2pPr rtl="0">
              <a:defRPr sz="1900">
                <a:latin typeface="Arial" panose="020B0604020202020204" pitchFamily="34" charset="0"/>
              </a:defRPr>
            </a:lvl2pPr>
            <a:lvl3pPr marL="457200" indent="-230188" rtl="0">
              <a:defRPr sz="1700">
                <a:latin typeface="Arial" panose="020B0604020202020204" pitchFamily="34" charset="0"/>
              </a:defRPr>
            </a:lvl3pPr>
            <a:lvl4pPr rtl="0">
              <a:defRPr sz="1700">
                <a:latin typeface="Arial" panose="020B0604020202020204" pitchFamily="34" charset="0"/>
              </a:defRPr>
            </a:lvl4pPr>
            <a:lvl5pPr rtl="0">
              <a:defRPr sz="150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889108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D5D496C-CE71-4A19-828B-E3D8B76A82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259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D5D496C-CE71-4A19-828B-E3D8B76A82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4264" y="5241390"/>
            <a:ext cx="11147360" cy="1159410"/>
          </a:xfrm>
        </p:spPr>
        <p:txBody>
          <a:bodyPr/>
          <a:lstStyle>
            <a:lvl1pPr rtl="0">
              <a:defRPr sz="1900">
                <a:latin typeface="Arial" panose="020B0604020202020204" pitchFamily="34" charset="0"/>
              </a:defRPr>
            </a:lvl1pPr>
            <a:lvl2pPr marL="0" indent="0" rtl="0">
              <a:buNone/>
              <a:defRPr sz="1500">
                <a:latin typeface="Arial" panose="020B0604020202020204" pitchFamily="34" charset="0"/>
              </a:defRPr>
            </a:lvl2pPr>
            <a:lvl3pPr marL="384048" indent="-182880">
              <a:defRPr sz="1500">
                <a:latin typeface="+mn-lt"/>
              </a:defRPr>
            </a:lvl3pPr>
            <a:lvl4pPr marL="548640" indent="-182880">
              <a:defRPr sz="1500">
                <a:latin typeface="+mn-lt"/>
              </a:defRPr>
            </a:lvl4pPr>
            <a:lvl5pPr marL="731520" indent="-182880">
              <a:defRPr sz="13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97280" y="6616700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15184" y="6619947"/>
            <a:ext cx="53949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02920" y="6620256"/>
            <a:ext cx="438912" cy="118872"/>
          </a:xfrm>
        </p:spPr>
        <p:txBody>
          <a:bodyPr/>
          <a:lstStyle>
            <a:lvl1pPr rtl="0">
              <a:defRPr sz="800" b="1"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502919" y="1322552"/>
            <a:ext cx="11201400" cy="3824542"/>
          </a:xfrm>
          <a:solidFill>
            <a:schemeClr val="bg2">
              <a:lumMod val="95000"/>
            </a:schemeClr>
          </a:solidFill>
        </p:spPr>
        <p:txBody>
          <a:bodyPr/>
          <a:lstStyle>
            <a:lvl1pPr rtl="0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Text Placeholder 58"/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722247"/>
            <a:ext cx="11198284" cy="390099"/>
          </a:xfrm>
        </p:spPr>
        <p:txBody>
          <a:bodyPr/>
          <a:lstStyle>
            <a:lvl1pPr rtl="0">
              <a:defRPr sz="240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1pPr>
            <a:lvl2pPr rtl="0">
              <a:defRPr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2pPr>
          </a:lstStyle>
          <a:p>
            <a:pPr lvl="0"/>
            <a:r>
              <a:rPr lang="en-US"/>
              <a:t>Subhead goes here</a:t>
            </a:r>
          </a:p>
          <a:p>
            <a:pPr lvl="1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8"/>
            <a:ext cx="11198597" cy="484632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222053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2844D0F-A20A-402C-8A22-E11723AA48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22140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2844D0F-A20A-402C-8A22-E11723AA48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4" y="1368725"/>
            <a:ext cx="12191936" cy="5114351"/>
          </a:xfrm>
          <a:solidFill>
            <a:schemeClr val="bg2">
              <a:lumMod val="95000"/>
            </a:schemeClr>
          </a:solidFill>
        </p:spPr>
        <p:txBody>
          <a:bodyPr/>
          <a:lstStyle>
            <a:lvl1pPr rtl="0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97280" y="6616700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15184" y="6619947"/>
            <a:ext cx="53949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02920" y="6620256"/>
            <a:ext cx="438912" cy="118872"/>
          </a:xfrm>
        </p:spPr>
        <p:txBody>
          <a:bodyPr/>
          <a:lstStyle>
            <a:lvl1pPr rtl="0">
              <a:defRPr sz="800"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8" name="Text Placeholder 58"/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722247"/>
            <a:ext cx="11198284" cy="390099"/>
          </a:xfrm>
        </p:spPr>
        <p:txBody>
          <a:bodyPr/>
          <a:lstStyle>
            <a:lvl1pPr rtl="0">
              <a:defRPr sz="240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1pPr>
            <a:lvl2pPr rtl="0">
              <a:defRPr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2pPr>
          </a:lstStyle>
          <a:p>
            <a:pPr lvl="0"/>
            <a:r>
              <a:rPr lang="en-US"/>
              <a:t>Subhead goes here</a:t>
            </a:r>
          </a:p>
          <a:p>
            <a:pPr lvl="1"/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8"/>
            <a:ext cx="11198597" cy="484632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009882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ilent 16:9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8CAA08C-BA54-4399-867D-3CBCB5BB63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2891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8CAA08C-BA54-4399-867D-3CBCB5BB63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/>
          <p:cNvSpPr/>
          <p:nvPr userDrawn="1"/>
        </p:nvSpPr>
        <p:spPr>
          <a:xfrm>
            <a:off x="7918824" y="-1"/>
            <a:ext cx="621169" cy="687294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0" name="Rectangle 29"/>
          <p:cNvSpPr/>
          <p:nvPr userDrawn="1"/>
        </p:nvSpPr>
        <p:spPr>
          <a:xfrm>
            <a:off x="-1" y="-1"/>
            <a:ext cx="7918825" cy="687294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2000" dirty="0">
              <a:latin typeface="Arial" panose="020B0604020202020204" pitchFamily="34" charset="0"/>
            </a:endParaRPr>
          </a:p>
        </p:txBody>
      </p:sp>
      <p:sp>
        <p:nvSpPr>
          <p:cNvPr id="31" name="Rectangle 30"/>
          <p:cNvSpPr/>
          <p:nvPr userDrawn="1"/>
        </p:nvSpPr>
        <p:spPr>
          <a:xfrm>
            <a:off x="10064080" y="-1"/>
            <a:ext cx="2127920" cy="687294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2" name="Rectangle 31"/>
          <p:cNvSpPr/>
          <p:nvPr userDrawn="1"/>
        </p:nvSpPr>
        <p:spPr>
          <a:xfrm>
            <a:off x="8539992" y="-1"/>
            <a:ext cx="1524087" cy="687294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76103" y="1109600"/>
            <a:ext cx="7143939" cy="3850885"/>
          </a:xfrm>
        </p:spPr>
        <p:txBody>
          <a:bodyPr vert="horz" lIns="0" tIns="0" rIns="0" bIns="0" anchor="t" anchorCtr="0">
            <a:noAutofit/>
          </a:bodyPr>
          <a:lstStyle>
            <a:lvl1pPr algn="l" rtl="0">
              <a:defRPr sz="60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476103" y="5092929"/>
            <a:ext cx="7143939" cy="1137771"/>
          </a:xfrm>
        </p:spPr>
        <p:txBody>
          <a:bodyPr lIns="0" tIns="0" rIns="0" bIns="0" anchor="t" anchorCtr="0">
            <a:normAutofit/>
          </a:bodyPr>
          <a:lstStyle>
            <a:lvl1pPr marL="0" indent="0" algn="l" rtl="0">
              <a:spcBef>
                <a:spcPts val="30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1097280" y="6621625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2615184" y="6621625"/>
            <a:ext cx="49377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502920" y="6621625"/>
            <a:ext cx="530352" cy="118872"/>
          </a:xfrm>
        </p:spPr>
        <p:txBody>
          <a:bodyPr/>
          <a:lstStyle>
            <a:lvl1pPr rtl="0">
              <a:defRPr sz="800" b="1" i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defRPr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7544" y="283"/>
            <a:ext cx="2133424" cy="6857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426870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ilent 16:9 End w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82582A3-F53A-4359-A8A5-0E2DE02C70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183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82582A3-F53A-4359-A8A5-0E2DE02C70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>
            <a:extLst>
              <a:ext uri="{FF2B5EF4-FFF2-40B4-BE49-F238E27FC236}">
                <a16:creationId xmlns:a16="http://schemas.microsoft.com/office/drawing/2014/main" id="{56097729-5F47-41FD-8C30-7C9F3B4771B4}"/>
              </a:ext>
            </a:extLst>
          </p:cNvPr>
          <p:cNvGrpSpPr/>
          <p:nvPr userDrawn="1"/>
        </p:nvGrpSpPr>
        <p:grpSpPr>
          <a:xfrm>
            <a:off x="1" y="-14941"/>
            <a:ext cx="12191999" cy="6872941"/>
            <a:chOff x="1" y="-14941"/>
            <a:chExt cx="12191999" cy="6872941"/>
          </a:xfrm>
        </p:grpSpPr>
        <p:sp>
          <p:nvSpPr>
            <p:cNvPr id="22" name="Rectangle 21"/>
            <p:cNvSpPr/>
            <p:nvPr userDrawn="1"/>
          </p:nvSpPr>
          <p:spPr>
            <a:xfrm>
              <a:off x="10046744" y="-14941"/>
              <a:ext cx="621169" cy="687294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30" name="Rectangle 29"/>
            <p:cNvSpPr/>
            <p:nvPr userDrawn="1"/>
          </p:nvSpPr>
          <p:spPr>
            <a:xfrm>
              <a:off x="1" y="-14941"/>
              <a:ext cx="10046744" cy="687294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US" sz="2000" dirty="0">
                <a:latin typeface="Arial" panose="020B0604020202020204" pitchFamily="34" charset="0"/>
              </a:endParaRPr>
            </a:p>
          </p:txBody>
        </p:sp>
        <p:sp>
          <p:nvSpPr>
            <p:cNvPr id="32" name="Rectangle 31"/>
            <p:cNvSpPr/>
            <p:nvPr userDrawn="1"/>
          </p:nvSpPr>
          <p:spPr>
            <a:xfrm>
              <a:off x="10667913" y="-14941"/>
              <a:ext cx="1524087" cy="6872941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US" dirty="0">
                <a:latin typeface="Arial" panose="020B0604020202020204" pitchFamily="34" charset="0"/>
              </a:endParaRPr>
            </a:p>
          </p:txBody>
        </p:sp>
        <p:pic>
          <p:nvPicPr>
            <p:cNvPr id="15" name="Picture 14" descr="A close up of a logo&#10;&#10;Description generated with very high confidence">
              <a:extLst>
                <a:ext uri="{FF2B5EF4-FFF2-40B4-BE49-F238E27FC236}">
                  <a16:creationId xmlns:a16="http://schemas.microsoft.com/office/drawing/2014/main" id="{E751C32A-B6B1-4A85-B1E9-5F99572131E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79686" y="1798546"/>
              <a:ext cx="6087374" cy="2864967"/>
            </a:xfrm>
            <a:prstGeom prst="rect">
              <a:avLst/>
            </a:prstGeom>
          </p:spPr>
        </p:pic>
      </p:grp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1097280" y="6621625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2615184" y="6621625"/>
            <a:ext cx="49377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502920" y="6621625"/>
            <a:ext cx="530352" cy="118872"/>
          </a:xfrm>
        </p:spPr>
        <p:txBody>
          <a:bodyPr/>
          <a:lstStyle>
            <a:lvl1pPr rtl="0">
              <a:defRPr sz="800" b="1" i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defRPr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17922226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ilent 16:9 Title Sub Only">
  <p:cSld name="1_Agilent 16:9 Title Sub Only">
    <p:spTree>
      <p:nvGrpSpPr>
        <p:cNvPr id="1" name="Shape 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Google Shape;181;p23"/>
          <p:cNvSpPr txBox="1">
            <a:spLocks noGrp="1"/>
          </p:cNvSpPr>
          <p:nvPr>
            <p:ph type="body" idx="1"/>
          </p:nvPr>
        </p:nvSpPr>
        <p:spPr>
          <a:xfrm>
            <a:off x="503238" y="722247"/>
            <a:ext cx="9817854" cy="3900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Arial"/>
              <a:buNone/>
              <a:defRPr sz="24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34925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900"/>
              <a:buChar char="•"/>
              <a:defRPr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lvl="2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3pPr>
            <a:lvl4pPr marL="1828800" lvl="3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2" name="Google Shape;182;p23"/>
          <p:cNvSpPr txBox="1">
            <a:spLocks noGrp="1"/>
          </p:cNvSpPr>
          <p:nvPr>
            <p:ph type="title"/>
          </p:nvPr>
        </p:nvSpPr>
        <p:spPr>
          <a:xfrm>
            <a:off x="502920" y="246888"/>
            <a:ext cx="9818128" cy="4846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Arial"/>
              <a:buNone/>
              <a:defRPr sz="2800" b="0" i="0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3" name="Google Shape;183;p23"/>
          <p:cNvSpPr txBox="1">
            <a:spLocks noGrp="1"/>
          </p:cNvSpPr>
          <p:nvPr>
            <p:ph type="dt" idx="10"/>
          </p:nvPr>
        </p:nvSpPr>
        <p:spPr>
          <a:xfrm>
            <a:off x="1097280" y="6620256"/>
            <a:ext cx="1060704" cy="1188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8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 dirty="0"/>
              <a:t>16 August 2022</a:t>
            </a:r>
            <a:endParaRPr dirty="0"/>
          </a:p>
        </p:txBody>
      </p:sp>
      <p:sp>
        <p:nvSpPr>
          <p:cNvPr id="184" name="Google Shape;184;p23"/>
          <p:cNvSpPr txBox="1">
            <a:spLocks noGrp="1"/>
          </p:cNvSpPr>
          <p:nvPr>
            <p:ph type="ftr" idx="11"/>
          </p:nvPr>
        </p:nvSpPr>
        <p:spPr>
          <a:xfrm>
            <a:off x="2615184" y="6620256"/>
            <a:ext cx="5303520" cy="1188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8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 dirty="0"/>
              <a:t>Agilent Private - DRAFT - NOT FOR DISTRIBUTION</a:t>
            </a:r>
            <a:endParaRPr dirty="0"/>
          </a:p>
        </p:txBody>
      </p:sp>
      <p:sp>
        <p:nvSpPr>
          <p:cNvPr id="185" name="Google Shape;185;p23"/>
          <p:cNvSpPr txBox="1">
            <a:spLocks noGrp="1"/>
          </p:cNvSpPr>
          <p:nvPr>
            <p:ph type="sldNum" idx="12"/>
          </p:nvPr>
        </p:nvSpPr>
        <p:spPr>
          <a:xfrm>
            <a:off x="502920" y="6620256"/>
            <a:ext cx="420624" cy="1188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8971985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ilent 16:9 2-Col Right Only Narrow">
  <p:cSld name="Agilent 16:9 2-Col Right Only Narrow"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oogle Shape;66;p116"/>
          <p:cNvSpPr txBox="1">
            <a:spLocks noGrp="1"/>
          </p:cNvSpPr>
          <p:nvPr>
            <p:ph type="body" idx="1"/>
          </p:nvPr>
        </p:nvSpPr>
        <p:spPr>
          <a:xfrm>
            <a:off x="7465671" y="1287522"/>
            <a:ext cx="4235845" cy="48873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>
                <a:latin typeface="Arial"/>
                <a:ea typeface="Arial"/>
                <a:cs typeface="Arial"/>
                <a:sym typeface="Arial"/>
              </a:defRPr>
            </a:lvl1pPr>
            <a:lvl2pPr marL="914400" lvl="1" indent="-34925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900"/>
              <a:buChar char="•"/>
              <a:defRPr sz="1900">
                <a:latin typeface="Arial"/>
                <a:ea typeface="Arial"/>
                <a:cs typeface="Arial"/>
                <a:sym typeface="Arial"/>
              </a:defRPr>
            </a:lvl2pPr>
            <a:lvl3pPr marL="1371600" lvl="2" indent="-33655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700"/>
              <a:buChar char="–"/>
              <a:defRPr sz="1700">
                <a:latin typeface="Arial"/>
                <a:ea typeface="Arial"/>
                <a:cs typeface="Arial"/>
                <a:sym typeface="Arial"/>
              </a:defRPr>
            </a:lvl3pPr>
            <a:lvl4pPr marL="1828800" lvl="3" indent="-33655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700"/>
              <a:buChar char="•"/>
              <a:defRPr sz="1700">
                <a:latin typeface="Arial"/>
                <a:ea typeface="Arial"/>
                <a:cs typeface="Arial"/>
                <a:sym typeface="Arial"/>
              </a:defRPr>
            </a:lvl4pPr>
            <a:lvl5pPr marL="2286000" lvl="4" indent="-32385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500"/>
              <a:buChar char="–"/>
              <a:defRPr sz="1500">
                <a:latin typeface="Arial"/>
                <a:ea typeface="Arial"/>
                <a:cs typeface="Arial"/>
                <a:sym typeface="Arial"/>
              </a:defRPr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7" name="Google Shape;67;p116"/>
          <p:cNvSpPr txBox="1">
            <a:spLocks noGrp="1"/>
          </p:cNvSpPr>
          <p:nvPr>
            <p:ph type="dt" idx="10"/>
          </p:nvPr>
        </p:nvSpPr>
        <p:spPr>
          <a:xfrm>
            <a:off x="1092982" y="6620256"/>
            <a:ext cx="1055857" cy="1188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 dirty="0"/>
              <a:t>16 August 2022</a:t>
            </a:r>
            <a:endParaRPr dirty="0"/>
          </a:p>
        </p:txBody>
      </p:sp>
      <p:sp>
        <p:nvSpPr>
          <p:cNvPr id="68" name="Google Shape;68;p116"/>
          <p:cNvSpPr txBox="1">
            <a:spLocks noGrp="1"/>
          </p:cNvSpPr>
          <p:nvPr>
            <p:ph type="ftr" idx="11"/>
          </p:nvPr>
        </p:nvSpPr>
        <p:spPr>
          <a:xfrm>
            <a:off x="2614298" y="6620256"/>
            <a:ext cx="5303520" cy="1188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 dirty="0"/>
              <a:t>Agilent Private - DRAFT - NOT FOR DISTRIBUTION</a:t>
            </a:r>
            <a:endParaRPr dirty="0"/>
          </a:p>
        </p:txBody>
      </p:sp>
      <p:sp>
        <p:nvSpPr>
          <p:cNvPr id="69" name="Google Shape;69;p116"/>
          <p:cNvSpPr txBox="1">
            <a:spLocks noGrp="1"/>
          </p:cNvSpPr>
          <p:nvPr>
            <p:ph type="sldNum" idx="12"/>
          </p:nvPr>
        </p:nvSpPr>
        <p:spPr>
          <a:xfrm>
            <a:off x="502920" y="6620256"/>
            <a:ext cx="434347" cy="1188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 sz="800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l">
              <a:spcBef>
                <a:spcPts val="0"/>
              </a:spcBef>
              <a:buNone/>
              <a:defRPr sz="800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l">
              <a:spcBef>
                <a:spcPts val="0"/>
              </a:spcBef>
              <a:buNone/>
              <a:defRPr sz="800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l">
              <a:spcBef>
                <a:spcPts val="0"/>
              </a:spcBef>
              <a:buNone/>
              <a:defRPr sz="800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l">
              <a:spcBef>
                <a:spcPts val="0"/>
              </a:spcBef>
              <a:buNone/>
              <a:defRPr sz="800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l">
              <a:spcBef>
                <a:spcPts val="0"/>
              </a:spcBef>
              <a:buNone/>
              <a:defRPr sz="800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l">
              <a:spcBef>
                <a:spcPts val="0"/>
              </a:spcBef>
              <a:buNone/>
              <a:defRPr sz="800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l">
              <a:spcBef>
                <a:spcPts val="0"/>
              </a:spcBef>
              <a:buNone/>
              <a:defRPr sz="800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l">
              <a:spcBef>
                <a:spcPts val="0"/>
              </a:spcBef>
              <a:buNone/>
              <a:defRPr sz="800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70" name="Google Shape;70;p116"/>
          <p:cNvSpPr txBox="1">
            <a:spLocks noGrp="1"/>
          </p:cNvSpPr>
          <p:nvPr>
            <p:ph type="title"/>
          </p:nvPr>
        </p:nvSpPr>
        <p:spPr>
          <a:xfrm>
            <a:off x="502919" y="246887"/>
            <a:ext cx="11198597" cy="9267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Arial"/>
              <a:buNone/>
              <a:defRPr sz="2800" b="0" i="0"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7712863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sk Overview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4A8606-3BBD-5366-4C8F-52D13648F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8491" y="248556"/>
            <a:ext cx="11194268" cy="90549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EEFF31-EE23-C4E4-6FE7-0A4096C2E6F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Agilent Private - DRAFT - NOT FOR DISTRIBUTION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702DC4A-4C49-2C28-1682-5635F793277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 dirty="0"/>
              <a:t>16 August 2022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DCBDA01-0AB7-94F7-D380-95F8EDF702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7" name="Google Shape;75;p94">
            <a:extLst>
              <a:ext uri="{FF2B5EF4-FFF2-40B4-BE49-F238E27FC236}">
                <a16:creationId xmlns:a16="http://schemas.microsoft.com/office/drawing/2014/main" id="{D91FD25D-3EB5-43EB-AC83-6C4432C21EEF}"/>
              </a:ext>
            </a:extLst>
          </p:cNvPr>
          <p:cNvSpPr txBox="1">
            <a:spLocks noGrp="1"/>
          </p:cNvSpPr>
          <p:nvPr>
            <p:ph type="body" idx="2"/>
          </p:nvPr>
        </p:nvSpPr>
        <p:spPr>
          <a:xfrm>
            <a:off x="6172200" y="1887794"/>
            <a:ext cx="5486400" cy="201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40" tIns="45700" rIns="91425" bIns="45700" anchor="t" anchorCtr="0">
            <a:noAutofit/>
          </a:bodyPr>
          <a:lstStyle>
            <a:lvl1pPr marL="177800" lvl="0" indent="-177800" algn="l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>
                <a:schemeClr val="dk1"/>
              </a:buClr>
              <a:buSzPts val="1400"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  <a:latin typeface="+mn-lt"/>
                <a:ea typeface="Verdana"/>
                <a:cs typeface="Verdana"/>
                <a:sym typeface="Verdana"/>
              </a:defRPr>
            </a:lvl1pPr>
            <a:lvl2pPr marL="914400" lvl="1" indent="-3048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200"/>
              <a:buChar char="•"/>
              <a:defRPr sz="1200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2286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100"/>
              <a:buNone/>
              <a:defRPr sz="1100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295275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050"/>
              <a:buChar char="•"/>
              <a:defRPr sz="1050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295275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050"/>
              <a:buChar char="–"/>
              <a:defRPr sz="1050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dirty="0"/>
          </a:p>
        </p:txBody>
      </p:sp>
      <p:sp>
        <p:nvSpPr>
          <p:cNvPr id="8" name="Google Shape;76;p94">
            <a:extLst>
              <a:ext uri="{FF2B5EF4-FFF2-40B4-BE49-F238E27FC236}">
                <a16:creationId xmlns:a16="http://schemas.microsoft.com/office/drawing/2014/main" id="{506FE822-6433-A54C-ED90-98201E0E3B4A}"/>
              </a:ext>
            </a:extLst>
          </p:cNvPr>
          <p:cNvSpPr txBox="1"/>
          <p:nvPr userDrawn="1"/>
        </p:nvSpPr>
        <p:spPr>
          <a:xfrm>
            <a:off x="396564" y="1496899"/>
            <a:ext cx="134203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 dirty="0">
                <a:solidFill>
                  <a:schemeClr val="dk1"/>
                </a:solidFill>
                <a:latin typeface="+mn-lt"/>
                <a:ea typeface="Verdana"/>
                <a:cs typeface="Verdana"/>
                <a:sym typeface="Verdana"/>
              </a:rPr>
              <a:t>Key Tasks</a:t>
            </a:r>
            <a:endParaRPr dirty="0">
              <a:latin typeface="+mn-lt"/>
            </a:endParaRPr>
          </a:p>
        </p:txBody>
      </p:sp>
      <p:sp>
        <p:nvSpPr>
          <p:cNvPr id="9" name="Google Shape;77;p94">
            <a:extLst>
              <a:ext uri="{FF2B5EF4-FFF2-40B4-BE49-F238E27FC236}">
                <a16:creationId xmlns:a16="http://schemas.microsoft.com/office/drawing/2014/main" id="{61C8F187-EB46-935E-B716-1058F286503B}"/>
              </a:ext>
            </a:extLst>
          </p:cNvPr>
          <p:cNvSpPr txBox="1"/>
          <p:nvPr userDrawn="1"/>
        </p:nvSpPr>
        <p:spPr>
          <a:xfrm>
            <a:off x="6072513" y="1496899"/>
            <a:ext cx="160172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 dirty="0">
                <a:solidFill>
                  <a:schemeClr val="dk1"/>
                </a:solidFill>
                <a:latin typeface="+mn-lt"/>
                <a:ea typeface="Verdana"/>
                <a:cs typeface="Verdana"/>
                <a:sym typeface="Verdana"/>
              </a:rPr>
              <a:t>Key Outputs</a:t>
            </a:r>
            <a:endParaRPr dirty="0">
              <a:latin typeface="+mn-lt"/>
            </a:endParaRPr>
          </a:p>
        </p:txBody>
      </p:sp>
      <p:cxnSp>
        <p:nvCxnSpPr>
          <p:cNvPr id="10" name="Google Shape;78;p94">
            <a:extLst>
              <a:ext uri="{FF2B5EF4-FFF2-40B4-BE49-F238E27FC236}">
                <a16:creationId xmlns:a16="http://schemas.microsoft.com/office/drawing/2014/main" id="{FFD519A1-434B-80EE-FB9F-0D003B3699B8}"/>
              </a:ext>
            </a:extLst>
          </p:cNvPr>
          <p:cNvCxnSpPr/>
          <p:nvPr userDrawn="1"/>
        </p:nvCxnSpPr>
        <p:spPr>
          <a:xfrm>
            <a:off x="496251" y="1846567"/>
            <a:ext cx="5394960" cy="0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1" name="Google Shape;79;p94">
            <a:extLst>
              <a:ext uri="{FF2B5EF4-FFF2-40B4-BE49-F238E27FC236}">
                <a16:creationId xmlns:a16="http://schemas.microsoft.com/office/drawing/2014/main" id="{878203F3-A28F-3128-F846-C7D67E1DEA69}"/>
              </a:ext>
            </a:extLst>
          </p:cNvPr>
          <p:cNvCxnSpPr/>
          <p:nvPr userDrawn="1"/>
        </p:nvCxnSpPr>
        <p:spPr>
          <a:xfrm>
            <a:off x="6172200" y="1846567"/>
            <a:ext cx="5394960" cy="0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" name="Google Shape;80;p94">
            <a:extLst>
              <a:ext uri="{FF2B5EF4-FFF2-40B4-BE49-F238E27FC236}">
                <a16:creationId xmlns:a16="http://schemas.microsoft.com/office/drawing/2014/main" id="{C10ECA2A-C289-8D4A-1AD2-5A9A7F70A4B1}"/>
              </a:ext>
            </a:extLst>
          </p:cNvPr>
          <p:cNvSpPr txBox="1"/>
          <p:nvPr userDrawn="1"/>
        </p:nvSpPr>
        <p:spPr>
          <a:xfrm>
            <a:off x="413148" y="1158345"/>
            <a:ext cx="1359668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 dirty="0">
                <a:solidFill>
                  <a:schemeClr val="dk1"/>
                </a:solidFill>
                <a:latin typeface="+mn-lt"/>
                <a:ea typeface="Verdana"/>
                <a:cs typeface="Verdana"/>
                <a:sym typeface="Verdana"/>
              </a:rPr>
              <a:t>Objective:</a:t>
            </a:r>
            <a:endParaRPr dirty="0">
              <a:latin typeface="+mn-lt"/>
            </a:endParaRPr>
          </a:p>
        </p:txBody>
      </p:sp>
      <p:sp>
        <p:nvSpPr>
          <p:cNvPr id="13" name="Google Shape;81;p94">
            <a:extLst>
              <a:ext uri="{FF2B5EF4-FFF2-40B4-BE49-F238E27FC236}">
                <a16:creationId xmlns:a16="http://schemas.microsoft.com/office/drawing/2014/main" id="{8A248022-83EB-5F0D-5E22-2966EB8F1688}"/>
              </a:ext>
            </a:extLst>
          </p:cNvPr>
          <p:cNvSpPr txBox="1">
            <a:spLocks noGrp="1"/>
          </p:cNvSpPr>
          <p:nvPr>
            <p:ph type="body" idx="3"/>
          </p:nvPr>
        </p:nvSpPr>
        <p:spPr>
          <a:xfrm>
            <a:off x="1502037" y="1208259"/>
            <a:ext cx="10190722" cy="2714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40" tIns="45700" rIns="91440" bIns="45700" anchor="t" anchorCtr="0">
            <a:noAutofit/>
          </a:bodyPr>
          <a:lstStyle>
            <a:lvl1pPr marL="7938" lv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tabLst/>
              <a:defRPr sz="1400"/>
            </a:lvl1pPr>
            <a:lvl2pPr marL="914400" lvl="1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3pPr>
            <a:lvl4pPr marL="1828800" lvl="3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dirty="0"/>
          </a:p>
        </p:txBody>
      </p:sp>
      <p:sp>
        <p:nvSpPr>
          <p:cNvPr id="15" name="Google Shape;83;p94">
            <a:extLst>
              <a:ext uri="{FF2B5EF4-FFF2-40B4-BE49-F238E27FC236}">
                <a16:creationId xmlns:a16="http://schemas.microsoft.com/office/drawing/2014/main" id="{E923A8FB-78FE-76F2-6D4F-027C871BF141}"/>
              </a:ext>
            </a:extLst>
          </p:cNvPr>
          <p:cNvSpPr txBox="1"/>
          <p:nvPr userDrawn="1"/>
        </p:nvSpPr>
        <p:spPr>
          <a:xfrm>
            <a:off x="6064046" y="4000394"/>
            <a:ext cx="33970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 dirty="0">
                <a:solidFill>
                  <a:schemeClr val="dk1"/>
                </a:solidFill>
                <a:latin typeface="+mn-lt"/>
                <a:ea typeface="Verdana"/>
                <a:cs typeface="Verdana"/>
                <a:sym typeface="Verdana"/>
              </a:rPr>
              <a:t>Risks (R) / Decisions (D) Needed</a:t>
            </a:r>
            <a:endParaRPr dirty="0">
              <a:latin typeface="+mn-lt"/>
            </a:endParaRPr>
          </a:p>
        </p:txBody>
      </p:sp>
      <p:cxnSp>
        <p:nvCxnSpPr>
          <p:cNvPr id="16" name="Google Shape;84;p94">
            <a:extLst>
              <a:ext uri="{FF2B5EF4-FFF2-40B4-BE49-F238E27FC236}">
                <a16:creationId xmlns:a16="http://schemas.microsoft.com/office/drawing/2014/main" id="{E3E73B54-619A-DDBA-5386-F1D272E155D5}"/>
              </a:ext>
            </a:extLst>
          </p:cNvPr>
          <p:cNvCxnSpPr/>
          <p:nvPr userDrawn="1"/>
        </p:nvCxnSpPr>
        <p:spPr>
          <a:xfrm>
            <a:off x="6172200" y="4350062"/>
            <a:ext cx="5394960" cy="0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6E14BA3-9970-BA27-3C41-46140CEBA7D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8491" y="1887794"/>
            <a:ext cx="5486400" cy="4288536"/>
          </a:xfrm>
        </p:spPr>
        <p:txBody>
          <a:bodyPr lIns="91440">
            <a:noAutofit/>
          </a:bodyPr>
          <a:lstStyle>
            <a:lvl1pPr marL="234950" indent="-234950">
              <a:buFont typeface="+mj-lt"/>
              <a:buAutoNum type="arabicPeriod"/>
              <a:tabLst/>
              <a:defRPr sz="1400"/>
            </a:lvl1pPr>
            <a:lvl2pPr marL="407988" indent="-146050">
              <a:tabLst/>
              <a:defRPr sz="1200"/>
            </a:lvl2pPr>
            <a:lvl3pPr marL="688975" indent="-254000">
              <a:tabLst/>
              <a:defRPr sz="1100"/>
            </a:lvl3pPr>
            <a:lvl4pPr marL="860425" indent="-190500">
              <a:tabLst/>
              <a:defRPr sz="1100"/>
            </a:lvl4pPr>
            <a:lvl5pPr marL="1087438" indent="-180975">
              <a:tabLst/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Google Shape;75;p94">
            <a:extLst>
              <a:ext uri="{FF2B5EF4-FFF2-40B4-BE49-F238E27FC236}">
                <a16:creationId xmlns:a16="http://schemas.microsoft.com/office/drawing/2014/main" id="{BE8C2E1B-384D-4F74-2F7F-C0BFA2C02637}"/>
              </a:ext>
            </a:extLst>
          </p:cNvPr>
          <p:cNvSpPr txBox="1">
            <a:spLocks noGrp="1"/>
          </p:cNvSpPr>
          <p:nvPr>
            <p:ph type="body" idx="14"/>
          </p:nvPr>
        </p:nvSpPr>
        <p:spPr>
          <a:xfrm>
            <a:off x="6172200" y="4387495"/>
            <a:ext cx="5486400" cy="17922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40" tIns="45700" rIns="91425" bIns="45700" anchor="t" anchorCtr="0">
            <a:noAutofit/>
          </a:bodyPr>
          <a:lstStyle>
            <a:lvl1pPr marL="177800" lvl="0" indent="-177800" algn="l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>
                <a:schemeClr val="dk1"/>
              </a:buClr>
              <a:buSzPts val="1400"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  <a:latin typeface="+mn-lt"/>
                <a:ea typeface="Verdana"/>
                <a:cs typeface="Verdana"/>
                <a:sym typeface="Verdana"/>
              </a:defRPr>
            </a:lvl1pPr>
            <a:lvl2pPr marL="914400" lvl="1" indent="-3048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200"/>
              <a:buChar char="•"/>
              <a:defRPr sz="1200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2286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100"/>
              <a:buNone/>
              <a:defRPr sz="1100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295275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050"/>
              <a:buChar char="•"/>
              <a:defRPr sz="1050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295275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050"/>
              <a:buChar char="–"/>
              <a:defRPr sz="1050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0194879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36693" y="1353313"/>
            <a:ext cx="10932160" cy="4755387"/>
          </a:xfrm>
        </p:spPr>
        <p:txBody>
          <a:bodyPr/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EA1010"/>
              </a:buClr>
              <a:buSzPct val="75000"/>
              <a:buFont typeface="Wingdings" charset="2"/>
              <a:buChar char="§"/>
              <a:defRPr lang="en-US" sz="2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marL="685783" lvl="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A1010"/>
              </a:buClr>
              <a:buSzPct val="75000"/>
              <a:buFont typeface="Lucida Grande"/>
              <a:buChar char="-"/>
            </a:pPr>
            <a:r>
              <a:rPr lang="en-US" dirty="0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76A422E-F4A4-1902-F28A-BBE08397723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2026" y="6507941"/>
            <a:ext cx="2045710" cy="25717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0D9563C-E1F3-1DC0-5268-D210B59E899B}"/>
              </a:ext>
            </a:extLst>
          </p:cNvPr>
          <p:cNvSpPr txBox="1"/>
          <p:nvPr userDrawn="1"/>
        </p:nvSpPr>
        <p:spPr>
          <a:xfrm>
            <a:off x="2609913" y="6636528"/>
            <a:ext cx="6095114" cy="1692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500" dirty="0"/>
              <a:t>© 2022 DatalogIQ 360 | 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3422834259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sk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521" y="109874"/>
            <a:ext cx="11191950" cy="1039658"/>
          </a:xfrm>
          <a:prstGeom prst="rect">
            <a:avLst/>
          </a:prstGeom>
        </p:spPr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Click to edit Workstream Nam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838200" y="1887793"/>
            <a:ext cx="5181600" cy="4289169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>
              <a:buFont typeface="+mj-lt"/>
              <a:buAutoNum type="arabicPeriod"/>
              <a:defRPr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05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05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Click to edit Task List</a:t>
            </a:r>
          </a:p>
          <a:p>
            <a:pPr lvl="1"/>
            <a:r>
              <a:rPr lang="en-US" dirty="0"/>
              <a:t>Subtask / Detail</a:t>
            </a:r>
          </a:p>
          <a:p>
            <a:pPr lvl="2"/>
            <a:r>
              <a:rPr lang="en-US" dirty="0"/>
              <a:t>Detail (use only if necessary)</a:t>
            </a:r>
          </a:p>
          <a:p>
            <a:pPr lvl="3"/>
            <a:r>
              <a:rPr lang="en-US" dirty="0"/>
              <a:t>More Detail (don’t use)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72200" y="1887794"/>
            <a:ext cx="5181600" cy="201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914377" indent="0">
              <a:buNone/>
              <a:defRPr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05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05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Click to edit Output List</a:t>
            </a:r>
          </a:p>
          <a:p>
            <a:pPr lvl="1"/>
            <a:r>
              <a:rPr lang="en-US" dirty="0"/>
              <a:t>Detail (use only if necessary)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1E617D7F-ABC2-B54B-B054-76FDCC818417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B8071AF-83A3-724F-A70A-1CBDCD65A0D7}"/>
              </a:ext>
            </a:extLst>
          </p:cNvPr>
          <p:cNvSpPr txBox="1"/>
          <p:nvPr userDrawn="1"/>
        </p:nvSpPr>
        <p:spPr>
          <a:xfrm>
            <a:off x="5976850" y="6293721"/>
            <a:ext cx="8194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bg2">
                    <a:lumMod val="10000"/>
                  </a:schemeClr>
                </a:solidFill>
              </a:rPr>
              <a:t>DRAF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F7DB17-7E03-5C4F-9EE1-C59B9B1E447A}"/>
              </a:ext>
            </a:extLst>
          </p:cNvPr>
          <p:cNvSpPr txBox="1"/>
          <p:nvPr userDrawn="1"/>
        </p:nvSpPr>
        <p:spPr>
          <a:xfrm>
            <a:off x="730046" y="1496899"/>
            <a:ext cx="134203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ey Task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32A4FD5-C3BB-374B-87AD-5F8A564B000E}"/>
              </a:ext>
            </a:extLst>
          </p:cNvPr>
          <p:cNvSpPr txBox="1"/>
          <p:nvPr userDrawn="1"/>
        </p:nvSpPr>
        <p:spPr>
          <a:xfrm>
            <a:off x="6064046" y="1496899"/>
            <a:ext cx="160172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ey Output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BD7C097-D0A2-7E40-83EC-4BFB8313F8A8}"/>
              </a:ext>
            </a:extLst>
          </p:cNvPr>
          <p:cNvCxnSpPr>
            <a:cxnSpLocks/>
          </p:cNvCxnSpPr>
          <p:nvPr userDrawn="1"/>
        </p:nvCxnSpPr>
        <p:spPr>
          <a:xfrm>
            <a:off x="838200" y="1846567"/>
            <a:ext cx="512064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BE07FC6-4214-9143-AC38-13F8C2AF358E}"/>
              </a:ext>
            </a:extLst>
          </p:cNvPr>
          <p:cNvCxnSpPr>
            <a:cxnSpLocks/>
          </p:cNvCxnSpPr>
          <p:nvPr userDrawn="1"/>
        </p:nvCxnSpPr>
        <p:spPr>
          <a:xfrm>
            <a:off x="6172200" y="1846567"/>
            <a:ext cx="512064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57F9ED99-E4B7-0649-8109-E968FE61CC62}"/>
              </a:ext>
            </a:extLst>
          </p:cNvPr>
          <p:cNvSpPr txBox="1"/>
          <p:nvPr userDrawn="1"/>
        </p:nvSpPr>
        <p:spPr>
          <a:xfrm>
            <a:off x="737351" y="1081479"/>
            <a:ext cx="135966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bjective: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FFA918B-424C-4B4E-BC8D-480CCDEFE44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64621" y="1122839"/>
            <a:ext cx="9332528" cy="271463"/>
          </a:xfrm>
        </p:spPr>
        <p:txBody>
          <a:bodyPr wrap="none">
            <a:noAutofit/>
          </a:bodyPr>
          <a:lstStyle>
            <a:lvl1pPr marL="0" indent="0">
              <a:buNone/>
              <a:defRPr sz="1400"/>
            </a:lvl1pPr>
          </a:lstStyle>
          <a:p>
            <a:pPr lvl="0"/>
            <a:r>
              <a:rPr lang="en-US" dirty="0"/>
              <a:t>Click to edit Workstream Objective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9336AB0-E775-E742-8D23-DAB3CDCD5FEA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6172200" y="4387495"/>
            <a:ext cx="5181600" cy="178946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914377" indent="0">
              <a:buNone/>
              <a:defRPr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05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05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Click to edit Resource Name and Need</a:t>
            </a:r>
          </a:p>
          <a:p>
            <a:pPr lvl="1"/>
            <a:r>
              <a:rPr lang="en-US" dirty="0"/>
              <a:t>Detail (use only if necessary)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093BC30-511C-C64E-A934-740A8DFC013E}"/>
              </a:ext>
            </a:extLst>
          </p:cNvPr>
          <p:cNvSpPr txBox="1"/>
          <p:nvPr userDrawn="1"/>
        </p:nvSpPr>
        <p:spPr>
          <a:xfrm>
            <a:off x="6064046" y="4000394"/>
            <a:ext cx="339708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ternal Resources Needed 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563D91D8-04A5-3447-BC18-75EA16BD399A}"/>
              </a:ext>
            </a:extLst>
          </p:cNvPr>
          <p:cNvCxnSpPr>
            <a:cxnSpLocks/>
          </p:cNvCxnSpPr>
          <p:nvPr userDrawn="1"/>
        </p:nvCxnSpPr>
        <p:spPr>
          <a:xfrm>
            <a:off x="6172200" y="4350062"/>
            <a:ext cx="512064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417108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B30B624-9947-E157-412F-3870F6D8DD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2026" y="6507941"/>
            <a:ext cx="2045710" cy="25717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036BD4B-5A4E-149C-5F44-44C9C827EF73}"/>
              </a:ext>
            </a:extLst>
          </p:cNvPr>
          <p:cNvSpPr txBox="1"/>
          <p:nvPr userDrawn="1"/>
        </p:nvSpPr>
        <p:spPr>
          <a:xfrm>
            <a:off x="2609913" y="6636528"/>
            <a:ext cx="6095114" cy="1692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500" dirty="0"/>
              <a:t>© 2022 DatalogIQ 360 | 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1347543756"/>
      </p:ext>
    </p:extLst>
  </p:cSld>
  <p:clrMapOvr>
    <a:masterClrMapping/>
  </p:clrMapOvr>
  <p:hf hdr="0" ft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vider gradient Blank">
    <p:bg>
      <p:bgPr>
        <a:gradFill>
          <a:gsLst>
            <a:gs pos="100000">
              <a:schemeClr val="tx2">
                <a:lumMod val="94000"/>
                <a:lumOff val="6000"/>
              </a:schemeClr>
            </a:gs>
            <a:gs pos="0">
              <a:srgbClr val="0F0F0F">
                <a:lumMod val="94000"/>
                <a:lumOff val="6000"/>
              </a:srgbClr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89234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3521" y="109874"/>
            <a:ext cx="11191950" cy="103965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1E617D7F-ABC2-B54B-B054-76FDCC8184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309670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1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34328904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490704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6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6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1E617D7F-ABC2-B54B-B054-76FDCC818417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3521" y="109874"/>
            <a:ext cx="11191950" cy="103965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1E617D7F-ABC2-B54B-B054-76FDCC818417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AB91094-2DA9-554C-A668-6E139720127F}"/>
              </a:ext>
            </a:extLst>
          </p:cNvPr>
          <p:cNvSpPr txBox="1"/>
          <p:nvPr userDrawn="1"/>
        </p:nvSpPr>
        <p:spPr>
          <a:xfrm>
            <a:off x="5976850" y="6293721"/>
            <a:ext cx="8194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bg2">
                    <a:lumMod val="10000"/>
                  </a:schemeClr>
                </a:solidFill>
              </a:rPr>
              <a:t>DRAFT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1E617D7F-ABC2-B54B-B054-76FDCC818417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1E617D7F-ABC2-B54B-B054-76FDCC818417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theme" Target="../theme/theme3.xml"/><Relationship Id="rId3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44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slideLayout" Target="../slideLayouts/slideLayout48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slideLayout" Target="../slideLayouts/slideLayout47.xml"/><Relationship Id="rId32" Type="http://schemas.openxmlformats.org/officeDocument/2006/relationships/image" Target="../media/image4.png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slideLayout" Target="../slideLayouts/slideLayout46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31" Type="http://schemas.openxmlformats.org/officeDocument/2006/relationships/image" Target="../media/image3.png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Relationship Id="rId27" Type="http://schemas.openxmlformats.org/officeDocument/2006/relationships/tags" Target="../tags/tag1.xml"/><Relationship Id="rId30" Type="http://schemas.openxmlformats.org/officeDocument/2006/relationships/image" Target="../media/image2.emf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1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5" Type="http://schemas.openxmlformats.org/officeDocument/2006/relationships/slideLayout" Target="../slideLayouts/slideLayout53.xml"/><Relationship Id="rId4" Type="http://schemas.openxmlformats.org/officeDocument/2006/relationships/slideLayout" Target="../slideLayouts/slideLayout5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DRAFT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1E617D7F-ABC2-B54B-B054-76FDCC81841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E6922714-ACC8-3240-B5EC-AE1318C4D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875" y="153292"/>
            <a:ext cx="11372819" cy="84410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991C8FA5-034F-014E-B9EC-AEC77931370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0324" y="1424594"/>
            <a:ext cx="9367254" cy="33940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" name="Slide Number Placeholder 8">
            <a:extLst>
              <a:ext uri="{FF2B5EF4-FFF2-40B4-BE49-F238E27FC236}">
                <a16:creationId xmlns:a16="http://schemas.microsoft.com/office/drawing/2014/main" id="{FD49C84C-6EC2-4E75-24AB-4CC0CFE5243F}"/>
              </a:ext>
            </a:extLst>
          </p:cNvPr>
          <p:cNvSpPr txBox="1">
            <a:spLocks/>
          </p:cNvSpPr>
          <p:nvPr userDrawn="1"/>
        </p:nvSpPr>
        <p:spPr>
          <a:xfrm>
            <a:off x="502920" y="6583312"/>
            <a:ext cx="529474" cy="2377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BD803B2-A378-42BD-B5EC-F7748F169FE0}" type="slidenum">
              <a:rPr lang="en-US" smtClean="0">
                <a:solidFill>
                  <a:srgbClr val="FFFFFF"/>
                </a:solidFill>
                <a:latin typeface="Roboto"/>
              </a:rPr>
              <a:pPr/>
              <a:t>‹#›</a:t>
            </a:fld>
            <a:endParaRPr lang="en-US">
              <a:solidFill>
                <a:srgbClr val="FFFFFF"/>
              </a:solidFill>
              <a:latin typeface="Roboto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BA4922D-03E5-9415-7612-5B9D11244493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602026" y="6507941"/>
            <a:ext cx="2045710" cy="25717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7322137-692D-82B1-0018-260D60D4A00A}"/>
              </a:ext>
            </a:extLst>
          </p:cNvPr>
          <p:cNvSpPr txBox="1"/>
          <p:nvPr userDrawn="1"/>
        </p:nvSpPr>
        <p:spPr>
          <a:xfrm>
            <a:off x="2609913" y="6636528"/>
            <a:ext cx="6095114" cy="1692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500" dirty="0"/>
              <a:t>© 2022 DatalogIQ 360 | 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17284074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97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  <p:sldLayoutId id="2147483695" r:id="rId12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lang="en-US" sz="2800" kern="1200" dirty="0">
          <a:solidFill>
            <a:srgbClr val="0070C0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>
              <a:lumMod val="65000"/>
              <a:lumOff val="35000"/>
            </a:schemeClr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>
              <a:lumMod val="65000"/>
              <a:lumOff val="35000"/>
            </a:schemeClr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65000"/>
              <a:lumOff val="35000"/>
            </a:schemeClr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75000"/>
              <a:lumOff val="25000"/>
            </a:schemeClr>
          </a:solidFill>
          <a:latin typeface="Avenir Next" panose="020B0503020202020204" pitchFamily="34" charset="0"/>
          <a:ea typeface="Avenir Next" panose="020B0503020202020204" pitchFamily="34" charset="0"/>
          <a:cs typeface="Avenir Next" panose="020B0503020202020204" pitchFamily="34" charset="0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75000"/>
              <a:lumOff val="25000"/>
            </a:schemeClr>
          </a:solidFill>
          <a:latin typeface="Avenir Next" panose="020B0503020202020204" pitchFamily="34" charset="0"/>
          <a:ea typeface="Avenir Next" panose="020B0503020202020204" pitchFamily="34" charset="0"/>
          <a:cs typeface="Avenir Next" panose="020B0503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66CA43B-6109-BF54-46D0-D771F776A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D198AF3-7052-8ED1-E29A-1D61CAF8714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F569A2B-7608-109A-091E-E57256F90EB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0AD1BF-9E2F-4002-87F7-EBBF916E481A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4F30CB-73ED-00F3-A0C1-09E56A1698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F9E01F-DDD6-E157-1873-7798029E8A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7031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58BDD55-716D-40BF-B7BD-53E264DE0E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852859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416" imgH="416" progId="TCLayout.ActiveDocument.1">
                  <p:embed/>
                </p:oleObj>
              </mc:Choice>
              <mc:Fallback>
                <p:oleObj name="think-cell Slide" r:id="rId29" imgW="416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58BDD55-716D-40BF-B7BD-53E264DE0E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FFBCA17-8DB0-47C4-97FF-0AB061EA3262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2800" b="0" i="0" baseline="0" dirty="0">
              <a:latin typeface="Arial" panose="020B0604020202020204" pitchFamily="34" charset="0"/>
              <a:ea typeface="Roboto Medium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0" y="6482602"/>
            <a:ext cx="12192000" cy="377952"/>
            <a:chOff x="0" y="6482602"/>
            <a:chExt cx="12192000" cy="377952"/>
          </a:xfrm>
        </p:grpSpPr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3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6482602"/>
              <a:ext cx="12192000" cy="377952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 userDrawn="1"/>
          </p:nvPicPr>
          <p:blipFill>
            <a:blip r:embed="rId3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4" y="6487228"/>
              <a:ext cx="12190992" cy="371825"/>
            </a:xfrm>
            <a:prstGeom prst="rect">
              <a:avLst/>
            </a:prstGeom>
          </p:spPr>
        </p:pic>
      </p:grp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498491" y="248556"/>
            <a:ext cx="11194268" cy="905495"/>
          </a:xfrm>
          <a:prstGeom prst="rect">
            <a:avLst/>
          </a:prstGeom>
        </p:spPr>
        <p:txBody>
          <a:bodyPr vert="horz" lIns="0" tIns="45720" rIns="91440" bIns="45720" rtlCol="0" anchor="t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498491" y="1291996"/>
            <a:ext cx="11194268" cy="4668376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3"/>
          </p:nvPr>
        </p:nvSpPr>
        <p:spPr bwMode="white">
          <a:xfrm>
            <a:off x="2614298" y="6620256"/>
            <a:ext cx="5303520" cy="11887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defRPr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4" name="Date Placeholder 3"/>
          <p:cNvSpPr>
            <a:spLocks noGrp="1"/>
          </p:cNvSpPr>
          <p:nvPr userDrawn="1">
            <p:ph type="dt" sz="half" idx="2"/>
          </p:nvPr>
        </p:nvSpPr>
        <p:spPr bwMode="white">
          <a:xfrm>
            <a:off x="1092982" y="6620256"/>
            <a:ext cx="1055857" cy="11887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800" rtl="0" eaLnBrk="1" latinLnBrk="0" hangingPunct="1">
              <a:defRPr lang="en-US" sz="8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 bwMode="white">
          <a:xfrm>
            <a:off x="502920" y="6620256"/>
            <a:ext cx="434347" cy="11887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800" rtl="0" eaLnBrk="1" latinLnBrk="0" hangingPunct="1">
              <a:defRPr lang="en-US" sz="800" b="0" i="0" kern="1200" smtClean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defRPr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032422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  <p:sldLayoutId id="2147483729" r:id="rId12"/>
    <p:sldLayoutId id="2147483730" r:id="rId13"/>
    <p:sldLayoutId id="2147483731" r:id="rId14"/>
    <p:sldLayoutId id="2147483732" r:id="rId15"/>
    <p:sldLayoutId id="2147483733" r:id="rId16"/>
    <p:sldLayoutId id="2147483734" r:id="rId17"/>
    <p:sldLayoutId id="2147483735" r:id="rId18"/>
    <p:sldLayoutId id="2147483736" r:id="rId19"/>
    <p:sldLayoutId id="2147483737" r:id="rId20"/>
    <p:sldLayoutId id="2147483738" r:id="rId21"/>
    <p:sldLayoutId id="2147483739" r:id="rId22"/>
    <p:sldLayoutId id="2147483740" r:id="rId23"/>
    <p:sldLayoutId id="2147483741" r:id="rId24"/>
    <p:sldLayoutId id="2147483742" r:id="rId25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b="0" i="0" kern="1200">
          <a:solidFill>
            <a:schemeClr val="accent1"/>
          </a:solidFill>
          <a:latin typeface="Arial" panose="020B0604020202020204" pitchFamily="34" charset="0"/>
          <a:ea typeface="Roboto Medium" panose="02000000000000000000" pitchFamily="2" charset="0"/>
          <a:cs typeface="Arial" panose="020B0604020202020204" pitchFamily="34" charset="0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1200"/>
        </a:spcBef>
        <a:buFontTx/>
        <a:buNone/>
        <a:defRPr sz="2100" kern="1200">
          <a:solidFill>
            <a:schemeClr val="tx1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1pPr>
      <a:lvl2pPr marL="173038" indent="-173038" algn="l" defTabSz="6858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2pPr>
      <a:lvl3pPr marL="457200" indent="-228600" algn="l" defTabSz="6858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700" kern="1200">
          <a:solidFill>
            <a:schemeClr val="tx1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3pPr>
      <a:lvl4pPr marL="627063" indent="-168275" algn="l" defTabSz="6858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4pPr>
      <a:lvl5pPr marL="857250" indent="-182563" algn="l" defTabSz="6858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3" orient="horz" pos="2160">
          <p15:clr>
            <a:srgbClr val="F26B43"/>
          </p15:clr>
        </p15:guide>
        <p15:guide id="14" pos="6720">
          <p15:clr>
            <a:srgbClr val="F26B43"/>
          </p15:clr>
        </p15:guide>
        <p15:guide id="15" orient="horz" pos="912">
          <p15:clr>
            <a:srgbClr val="F26B43"/>
          </p15:clr>
        </p15:guide>
        <p15:guide id="16" orient="horz" pos="192">
          <p15:clr>
            <a:srgbClr val="F26B43"/>
          </p15:clr>
        </p15:guide>
        <p15:guide id="17" orient="horz" pos="3888">
          <p15:clr>
            <a:srgbClr val="F26B43"/>
          </p15:clr>
        </p15:guide>
        <p15:guide id="18" pos="312">
          <p15:clr>
            <a:srgbClr val="F26B43"/>
          </p15:clr>
        </p15:guide>
        <p15:guide id="19" pos="7488">
          <p15:clr>
            <a:srgbClr val="F26B43"/>
          </p15:clr>
        </p15:guide>
        <p15:guide id="20" orient="horz" pos="1008">
          <p15:clr>
            <a:srgbClr val="F26B43"/>
          </p15:clr>
        </p15:guide>
        <p15:guide id="21" orient="horz" pos="4032">
          <p15:clr>
            <a:srgbClr val="F26B43"/>
          </p15:clr>
        </p15:guide>
        <p15:guide id="22" pos="3840">
          <p15:clr>
            <a:srgbClr val="F26B43"/>
          </p15:clr>
        </p15:guide>
        <p15:guide id="23" orient="horz" pos="4272">
          <p15:clr>
            <a:srgbClr val="F26B43"/>
          </p15:clr>
        </p15:guide>
        <p15:guide id="24" pos="6816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36693" y="249511"/>
            <a:ext cx="10932160" cy="99070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0" lang="en-US" sz="373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6693" y="1353311"/>
            <a:ext cx="10932160" cy="47548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A1010"/>
              </a:buClr>
              <a:buSzPct val="75000"/>
              <a:buFont typeface="Wingdings" charset="2"/>
              <a:buChar char="§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edit Master text styles</a:t>
            </a:r>
          </a:p>
          <a:p>
            <a:pPr marL="685783" marR="0" lvl="1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A1010"/>
              </a:buClr>
              <a:buSzPct val="75000"/>
              <a:buFont typeface="Lucida Grande"/>
              <a:buChar char="-"/>
              <a:tabLst/>
              <a:defRPr/>
            </a:pPr>
            <a:r>
              <a:rPr kumimoji="0" lang="en-US" sz="213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5621020" y="6395731"/>
            <a:ext cx="69088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914354" fontAlgn="auto">
              <a:spcBef>
                <a:spcPts val="0"/>
              </a:spcBef>
              <a:spcAft>
                <a:spcPts val="0"/>
              </a:spcAft>
            </a:pPr>
            <a:fld id="{4BC8C7BF-536A-5D4E-8B21-0CE6F1D2E9E6}" type="slidenum">
              <a:rPr lang="en-US" sz="1067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defTabSz="91435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1067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850611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  <p:sldLayoutId id="2147483749" r:id="rId6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733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marR="0" indent="-228594" algn="l" defTabSz="914377" rtl="0" eaLnBrk="1" fontAlgn="auto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lang="en-US" sz="24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685783" marR="0" indent="-228594" algn="l" defTabSz="914377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>
          <a:srgbClr val="EA1010"/>
        </a:buClr>
        <a:buSzPct val="75000"/>
        <a:buFont typeface="Lucida Grande"/>
        <a:buChar char="-"/>
        <a:tabLst/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67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7" Type="http://schemas.openxmlformats.org/officeDocument/2006/relationships/image" Target="../media/image15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8" name="Rectangle 37">
            <a:extLst>
              <a:ext uri="{FF2B5EF4-FFF2-40B4-BE49-F238E27FC236}">
                <a16:creationId xmlns:a16="http://schemas.microsoft.com/office/drawing/2014/main" id="{9B7AD9F6-8CE7-4299-8FC6-328F4DCD3F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55C5B7E0-5759-87DE-4168-B7031A75F75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50680" y="2327052"/>
            <a:ext cx="4309990" cy="1456390"/>
          </a:xfrm>
        </p:spPr>
        <p:txBody>
          <a:bodyPr vert="horz" lIns="91440" tIns="45720" rIns="91440" bIns="45720" rtlCol="0" anchor="b">
            <a:noAutofit/>
          </a:bodyPr>
          <a:lstStyle/>
          <a:p>
            <a:pPr algn="ctr" defTabSz="914400"/>
            <a:r>
              <a:rPr lang="en-US" sz="5400" dirty="0">
                <a:latin typeface="+mj-lt"/>
                <a:ea typeface="+mj-ea"/>
                <a:cs typeface="+mj-cs"/>
              </a:rPr>
              <a:t>The Impact </a:t>
            </a:r>
            <a:br>
              <a:rPr lang="en-US" sz="5400" dirty="0">
                <a:latin typeface="+mj-lt"/>
                <a:ea typeface="+mj-ea"/>
                <a:cs typeface="+mj-cs"/>
              </a:rPr>
            </a:br>
            <a:r>
              <a:rPr lang="en-US" sz="5400" dirty="0">
                <a:latin typeface="+mj-lt"/>
                <a:ea typeface="+mj-ea"/>
                <a:cs typeface="+mj-cs"/>
              </a:rPr>
              <a:t>of </a:t>
            </a:r>
            <a:br>
              <a:rPr lang="en-US" sz="5400" dirty="0">
                <a:latin typeface="+mj-lt"/>
                <a:ea typeface="+mj-ea"/>
                <a:cs typeface="+mj-cs"/>
              </a:rPr>
            </a:br>
            <a:r>
              <a:rPr lang="en-US" sz="5400" dirty="0">
                <a:latin typeface="+mj-lt"/>
                <a:ea typeface="+mj-ea"/>
                <a:cs typeface="+mj-cs"/>
              </a:rPr>
              <a:t>Data</a:t>
            </a:r>
          </a:p>
        </p:txBody>
      </p:sp>
      <p:sp>
        <p:nvSpPr>
          <p:cNvPr id="40" name="sketchy line">
            <a:extLst>
              <a:ext uri="{FF2B5EF4-FFF2-40B4-BE49-F238E27FC236}">
                <a16:creationId xmlns:a16="http://schemas.microsoft.com/office/drawing/2014/main" id="{F49775AF-8896-43EE-92C6-83497D6DC5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90338" y="4409267"/>
            <a:ext cx="3474720" cy="18288"/>
          </a:xfrm>
          <a:custGeom>
            <a:avLst/>
            <a:gdLst>
              <a:gd name="connsiteX0" fmla="*/ 0 w 3474720"/>
              <a:gd name="connsiteY0" fmla="*/ 0 h 18288"/>
              <a:gd name="connsiteX1" fmla="*/ 694944 w 3474720"/>
              <a:gd name="connsiteY1" fmla="*/ 0 h 18288"/>
              <a:gd name="connsiteX2" fmla="*/ 1355141 w 3474720"/>
              <a:gd name="connsiteY2" fmla="*/ 0 h 18288"/>
              <a:gd name="connsiteX3" fmla="*/ 2015338 w 3474720"/>
              <a:gd name="connsiteY3" fmla="*/ 0 h 18288"/>
              <a:gd name="connsiteX4" fmla="*/ 2779776 w 3474720"/>
              <a:gd name="connsiteY4" fmla="*/ 0 h 18288"/>
              <a:gd name="connsiteX5" fmla="*/ 3474720 w 3474720"/>
              <a:gd name="connsiteY5" fmla="*/ 0 h 18288"/>
              <a:gd name="connsiteX6" fmla="*/ 3474720 w 3474720"/>
              <a:gd name="connsiteY6" fmla="*/ 18288 h 18288"/>
              <a:gd name="connsiteX7" fmla="*/ 2779776 w 3474720"/>
              <a:gd name="connsiteY7" fmla="*/ 18288 h 18288"/>
              <a:gd name="connsiteX8" fmla="*/ 2189074 w 3474720"/>
              <a:gd name="connsiteY8" fmla="*/ 18288 h 18288"/>
              <a:gd name="connsiteX9" fmla="*/ 1528877 w 3474720"/>
              <a:gd name="connsiteY9" fmla="*/ 18288 h 18288"/>
              <a:gd name="connsiteX10" fmla="*/ 868680 w 3474720"/>
              <a:gd name="connsiteY10" fmla="*/ 18288 h 18288"/>
              <a:gd name="connsiteX11" fmla="*/ 0 w 3474720"/>
              <a:gd name="connsiteY11" fmla="*/ 18288 h 18288"/>
              <a:gd name="connsiteX12" fmla="*/ 0 w 3474720"/>
              <a:gd name="connsiteY12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474720" h="18288" fill="none" extrusionOk="0">
                <a:moveTo>
                  <a:pt x="0" y="0"/>
                </a:moveTo>
                <a:cubicBezTo>
                  <a:pt x="224454" y="-14544"/>
                  <a:pt x="495407" y="26540"/>
                  <a:pt x="694944" y="0"/>
                </a:cubicBezTo>
                <a:cubicBezTo>
                  <a:pt x="894481" y="-26540"/>
                  <a:pt x="1130063" y="24713"/>
                  <a:pt x="1355141" y="0"/>
                </a:cubicBezTo>
                <a:cubicBezTo>
                  <a:pt x="1580219" y="-24713"/>
                  <a:pt x="1820099" y="26695"/>
                  <a:pt x="2015338" y="0"/>
                </a:cubicBezTo>
                <a:cubicBezTo>
                  <a:pt x="2210577" y="-26695"/>
                  <a:pt x="2402045" y="165"/>
                  <a:pt x="2779776" y="0"/>
                </a:cubicBezTo>
                <a:cubicBezTo>
                  <a:pt x="3157507" y="-165"/>
                  <a:pt x="3286859" y="-15571"/>
                  <a:pt x="3474720" y="0"/>
                </a:cubicBezTo>
                <a:cubicBezTo>
                  <a:pt x="3474286" y="7551"/>
                  <a:pt x="3474253" y="9822"/>
                  <a:pt x="3474720" y="18288"/>
                </a:cubicBezTo>
                <a:cubicBezTo>
                  <a:pt x="3233904" y="29845"/>
                  <a:pt x="2945134" y="-5256"/>
                  <a:pt x="2779776" y="18288"/>
                </a:cubicBezTo>
                <a:cubicBezTo>
                  <a:pt x="2614418" y="41832"/>
                  <a:pt x="2339768" y="22709"/>
                  <a:pt x="2189074" y="18288"/>
                </a:cubicBezTo>
                <a:cubicBezTo>
                  <a:pt x="2038380" y="13867"/>
                  <a:pt x="1817434" y="-4947"/>
                  <a:pt x="1528877" y="18288"/>
                </a:cubicBezTo>
                <a:cubicBezTo>
                  <a:pt x="1240320" y="41523"/>
                  <a:pt x="1042447" y="37198"/>
                  <a:pt x="868680" y="18288"/>
                </a:cubicBezTo>
                <a:cubicBezTo>
                  <a:pt x="694913" y="-622"/>
                  <a:pt x="233232" y="44909"/>
                  <a:pt x="0" y="18288"/>
                </a:cubicBezTo>
                <a:cubicBezTo>
                  <a:pt x="60" y="11696"/>
                  <a:pt x="66" y="3758"/>
                  <a:pt x="0" y="0"/>
                </a:cubicBezTo>
                <a:close/>
              </a:path>
              <a:path w="3474720" h="18288" stroke="0" extrusionOk="0">
                <a:moveTo>
                  <a:pt x="0" y="0"/>
                </a:moveTo>
                <a:cubicBezTo>
                  <a:pt x="202328" y="-14716"/>
                  <a:pt x="332722" y="-11499"/>
                  <a:pt x="625450" y="0"/>
                </a:cubicBezTo>
                <a:cubicBezTo>
                  <a:pt x="918178" y="11499"/>
                  <a:pt x="1096688" y="5123"/>
                  <a:pt x="1389888" y="0"/>
                </a:cubicBezTo>
                <a:cubicBezTo>
                  <a:pt x="1683088" y="-5123"/>
                  <a:pt x="1835981" y="-14038"/>
                  <a:pt x="1980590" y="0"/>
                </a:cubicBezTo>
                <a:cubicBezTo>
                  <a:pt x="2125199" y="14038"/>
                  <a:pt x="2396099" y="-7203"/>
                  <a:pt x="2571293" y="0"/>
                </a:cubicBezTo>
                <a:cubicBezTo>
                  <a:pt x="2746487" y="7203"/>
                  <a:pt x="3041609" y="-12036"/>
                  <a:pt x="3474720" y="0"/>
                </a:cubicBezTo>
                <a:cubicBezTo>
                  <a:pt x="3474638" y="4406"/>
                  <a:pt x="3474631" y="9982"/>
                  <a:pt x="3474720" y="18288"/>
                </a:cubicBezTo>
                <a:cubicBezTo>
                  <a:pt x="3324873" y="21876"/>
                  <a:pt x="3136771" y="12587"/>
                  <a:pt x="2814523" y="18288"/>
                </a:cubicBezTo>
                <a:cubicBezTo>
                  <a:pt x="2492275" y="23989"/>
                  <a:pt x="2294402" y="47111"/>
                  <a:pt x="2154326" y="18288"/>
                </a:cubicBezTo>
                <a:cubicBezTo>
                  <a:pt x="2014250" y="-10535"/>
                  <a:pt x="1820317" y="33903"/>
                  <a:pt x="1494130" y="18288"/>
                </a:cubicBezTo>
                <a:cubicBezTo>
                  <a:pt x="1167943" y="2673"/>
                  <a:pt x="948432" y="14868"/>
                  <a:pt x="729691" y="18288"/>
                </a:cubicBezTo>
                <a:cubicBezTo>
                  <a:pt x="510950" y="21708"/>
                  <a:pt x="264032" y="24354"/>
                  <a:pt x="0" y="18288"/>
                </a:cubicBezTo>
                <a:cubicBezTo>
                  <a:pt x="189" y="14288"/>
                  <a:pt x="-703" y="3747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445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2863741219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A880877E-33BB-E2BE-969F-61A25C98D76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2"/>
          <a:stretch/>
        </p:blipFill>
        <p:spPr>
          <a:xfrm>
            <a:off x="5311702" y="10"/>
            <a:ext cx="6878775" cy="6857990"/>
          </a:xfrm>
          <a:custGeom>
            <a:avLst/>
            <a:gdLst/>
            <a:ahLst/>
            <a:cxnLst/>
            <a:rect l="l" t="t" r="r" b="b"/>
            <a:pathLst>
              <a:path w="6878775" h="6858000">
                <a:moveTo>
                  <a:pt x="1102973" y="0"/>
                </a:moveTo>
                <a:lnTo>
                  <a:pt x="1160688" y="0"/>
                </a:lnTo>
                <a:lnTo>
                  <a:pt x="983189" y="331786"/>
                </a:lnTo>
                <a:cubicBezTo>
                  <a:pt x="914866" y="469145"/>
                  <a:pt x="850355" y="608712"/>
                  <a:pt x="789261" y="750263"/>
                </a:cubicBezTo>
                <a:cubicBezTo>
                  <a:pt x="774307" y="784928"/>
                  <a:pt x="759992" y="819849"/>
                  <a:pt x="745295" y="854514"/>
                </a:cubicBezTo>
                <a:cubicBezTo>
                  <a:pt x="756682" y="845393"/>
                  <a:pt x="765489" y="833492"/>
                  <a:pt x="770857" y="819975"/>
                </a:cubicBezTo>
                <a:cubicBezTo>
                  <a:pt x="879943" y="589569"/>
                  <a:pt x="999605" y="365513"/>
                  <a:pt x="1131329" y="148742"/>
                </a:cubicBezTo>
                <a:lnTo>
                  <a:pt x="1227589" y="0"/>
                </a:lnTo>
                <a:lnTo>
                  <a:pt x="6878775" y="0"/>
                </a:lnTo>
                <a:lnTo>
                  <a:pt x="6878775" y="6858000"/>
                </a:lnTo>
                <a:lnTo>
                  <a:pt x="713521" y="6858000"/>
                </a:lnTo>
                <a:lnTo>
                  <a:pt x="625642" y="6670527"/>
                </a:lnTo>
                <a:cubicBezTo>
                  <a:pt x="507232" y="6398531"/>
                  <a:pt x="403083" y="6118381"/>
                  <a:pt x="312785" y="5830359"/>
                </a:cubicBezTo>
                <a:cubicBezTo>
                  <a:pt x="278149" y="5719759"/>
                  <a:pt x="248879" y="5607635"/>
                  <a:pt x="212198" y="5480401"/>
                </a:cubicBezTo>
                <a:cubicBezTo>
                  <a:pt x="212208" y="5491601"/>
                  <a:pt x="212803" y="5502788"/>
                  <a:pt x="213988" y="5513923"/>
                </a:cubicBezTo>
                <a:cubicBezTo>
                  <a:pt x="264089" y="5723695"/>
                  <a:pt x="307290" y="5935370"/>
                  <a:pt x="365826" y="6142729"/>
                </a:cubicBezTo>
                <a:cubicBezTo>
                  <a:pt x="433152" y="6380817"/>
                  <a:pt x="510068" y="6614016"/>
                  <a:pt x="597975" y="6841549"/>
                </a:cubicBezTo>
                <a:lnTo>
                  <a:pt x="604824" y="6858000"/>
                </a:lnTo>
                <a:lnTo>
                  <a:pt x="552056" y="6858000"/>
                </a:lnTo>
                <a:lnTo>
                  <a:pt x="539576" y="6828295"/>
                </a:lnTo>
                <a:cubicBezTo>
                  <a:pt x="380597" y="6414594"/>
                  <a:pt x="260223" y="5988893"/>
                  <a:pt x="171555" y="5552906"/>
                </a:cubicBezTo>
                <a:cubicBezTo>
                  <a:pt x="91163" y="5157998"/>
                  <a:pt x="43746" y="4758899"/>
                  <a:pt x="12305" y="4357388"/>
                </a:cubicBezTo>
                <a:cubicBezTo>
                  <a:pt x="-14281" y="4013908"/>
                  <a:pt x="4507" y="3672965"/>
                  <a:pt x="46684" y="3331516"/>
                </a:cubicBezTo>
                <a:cubicBezTo>
                  <a:pt x="127203" y="2664286"/>
                  <a:pt x="277819" y="2007265"/>
                  <a:pt x="496065" y="1371196"/>
                </a:cubicBezTo>
                <a:cubicBezTo>
                  <a:pt x="636273" y="966066"/>
                  <a:pt x="800445" y="573253"/>
                  <a:pt x="995723" y="196614"/>
                </a:cubicBezTo>
                <a:close/>
              </a:path>
            </a:pathLst>
          </a:cu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AEDC45BB-E363-21AD-DC7E-D1BEBC889CC4}"/>
              </a:ext>
            </a:extLst>
          </p:cNvPr>
          <p:cNvSpPr txBox="1"/>
          <p:nvPr/>
        </p:nvSpPr>
        <p:spPr>
          <a:xfrm>
            <a:off x="420174" y="5347454"/>
            <a:ext cx="609492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4"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gust </a:t>
            </a:r>
            <a:r>
              <a:rPr lang="en-US" dirty="0">
                <a:solidFill>
                  <a:srgbClr val="000000"/>
                </a:solidFill>
                <a:latin typeface="Arial"/>
              </a:rPr>
              <a:t>15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2023</a:t>
            </a:r>
          </a:p>
        </p:txBody>
      </p:sp>
    </p:spTree>
    <p:extLst>
      <p:ext uri="{BB962C8B-B14F-4D97-AF65-F5344CB8AC3E}">
        <p14:creationId xmlns:p14="http://schemas.microsoft.com/office/powerpoint/2010/main" val="993738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931BE47-EB20-6B4B-8C59-9971EEF99FE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261955" y="6293721"/>
            <a:ext cx="2743200" cy="365125"/>
          </a:xfrm>
        </p:spPr>
        <p:txBody>
          <a:bodyPr/>
          <a:lstStyle/>
          <a:p>
            <a:fld id="{86CB4B4D-7CA3-9044-876B-883B54F8677D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10" name="Title 4">
            <a:extLst>
              <a:ext uri="{FF2B5EF4-FFF2-40B4-BE49-F238E27FC236}">
                <a16:creationId xmlns:a16="http://schemas.microsoft.com/office/drawing/2014/main" id="{5B0CF9E5-9D6E-9AF4-B4E8-B06DE3161E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920" y="246888"/>
            <a:ext cx="11198597" cy="923544"/>
          </a:xfrm>
        </p:spPr>
        <p:txBody>
          <a:bodyPr/>
          <a:lstStyle/>
          <a:p>
            <a:r>
              <a:rPr lang="en-US" dirty="0"/>
              <a:t>The </a:t>
            </a:r>
            <a:r>
              <a:rPr lang="en-US" i="1" u="sng" dirty="0"/>
              <a:t>Impact</a:t>
            </a:r>
            <a:r>
              <a:rPr lang="en-US" dirty="0"/>
              <a:t> of Data on Our Organization</a:t>
            </a:r>
          </a:p>
        </p:txBody>
      </p:sp>
      <p:sp>
        <p:nvSpPr>
          <p:cNvPr id="11" name="Hexagon 10">
            <a:extLst>
              <a:ext uri="{FF2B5EF4-FFF2-40B4-BE49-F238E27FC236}">
                <a16:creationId xmlns:a16="http://schemas.microsoft.com/office/drawing/2014/main" id="{2CBEDBA8-665A-19E5-0EF1-5C583F3D4B01}"/>
              </a:ext>
            </a:extLst>
          </p:cNvPr>
          <p:cNvSpPr/>
          <p:nvPr/>
        </p:nvSpPr>
        <p:spPr>
          <a:xfrm>
            <a:off x="918174" y="1608761"/>
            <a:ext cx="1377395" cy="1197735"/>
          </a:xfrm>
          <a:prstGeom prst="hexagon">
            <a:avLst/>
          </a:prstGeom>
          <a:solidFill>
            <a:srgbClr val="9CE0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latin typeface="Roboto" panose="02000000000000000000" pitchFamily="2" charset="0"/>
                <a:ea typeface="Roboto" panose="02000000000000000000" pitchFamily="2" charset="0"/>
              </a:rPr>
              <a:t>01</a:t>
            </a:r>
          </a:p>
        </p:txBody>
      </p:sp>
      <p:sp>
        <p:nvSpPr>
          <p:cNvPr id="12" name="Hexagon 11">
            <a:extLst>
              <a:ext uri="{FF2B5EF4-FFF2-40B4-BE49-F238E27FC236}">
                <a16:creationId xmlns:a16="http://schemas.microsoft.com/office/drawing/2014/main" id="{D412A80E-2DFA-8E11-3674-AF39847CDF31}"/>
              </a:ext>
            </a:extLst>
          </p:cNvPr>
          <p:cNvSpPr/>
          <p:nvPr/>
        </p:nvSpPr>
        <p:spPr>
          <a:xfrm>
            <a:off x="2872093" y="4075066"/>
            <a:ext cx="1377395" cy="1197735"/>
          </a:xfrm>
          <a:prstGeom prst="hexagon">
            <a:avLst/>
          </a:prstGeom>
          <a:solidFill>
            <a:srgbClr val="62CE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latin typeface="Roboto" panose="02000000000000000000" pitchFamily="2" charset="0"/>
                <a:ea typeface="Roboto" panose="02000000000000000000" pitchFamily="2" charset="0"/>
              </a:rPr>
              <a:t>02</a:t>
            </a:r>
          </a:p>
        </p:txBody>
      </p:sp>
      <p:sp>
        <p:nvSpPr>
          <p:cNvPr id="13" name="Hexagon 12">
            <a:extLst>
              <a:ext uri="{FF2B5EF4-FFF2-40B4-BE49-F238E27FC236}">
                <a16:creationId xmlns:a16="http://schemas.microsoft.com/office/drawing/2014/main" id="{3CE85D3B-1B37-9073-4026-9FA9A524B651}"/>
              </a:ext>
            </a:extLst>
          </p:cNvPr>
          <p:cNvSpPr/>
          <p:nvPr/>
        </p:nvSpPr>
        <p:spPr>
          <a:xfrm>
            <a:off x="5099816" y="1608761"/>
            <a:ext cx="1377395" cy="1197735"/>
          </a:xfrm>
          <a:prstGeom prst="hexagon">
            <a:avLst/>
          </a:prstGeom>
          <a:solidFill>
            <a:srgbClr val="4BB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latin typeface="Roboto" panose="02000000000000000000" pitchFamily="2" charset="0"/>
                <a:ea typeface="Roboto" panose="02000000000000000000" pitchFamily="2" charset="0"/>
              </a:rPr>
              <a:t>03</a:t>
            </a:r>
          </a:p>
        </p:txBody>
      </p:sp>
      <p:sp>
        <p:nvSpPr>
          <p:cNvPr id="14" name="Hexagon 13">
            <a:extLst>
              <a:ext uri="{FF2B5EF4-FFF2-40B4-BE49-F238E27FC236}">
                <a16:creationId xmlns:a16="http://schemas.microsoft.com/office/drawing/2014/main" id="{FC742AED-8320-995D-8C2E-FE496530F615}"/>
              </a:ext>
            </a:extLst>
          </p:cNvPr>
          <p:cNvSpPr/>
          <p:nvPr/>
        </p:nvSpPr>
        <p:spPr>
          <a:xfrm>
            <a:off x="7398005" y="4049307"/>
            <a:ext cx="1377395" cy="1197735"/>
          </a:xfrm>
          <a:prstGeom prst="hexag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latin typeface="Roboto" panose="02000000000000000000" pitchFamily="2" charset="0"/>
                <a:ea typeface="Roboto" panose="02000000000000000000" pitchFamily="2" charset="0"/>
              </a:rPr>
              <a:t>04</a:t>
            </a:r>
          </a:p>
        </p:txBody>
      </p:sp>
      <p:sp>
        <p:nvSpPr>
          <p:cNvPr id="15" name="Hexagon 14">
            <a:extLst>
              <a:ext uri="{FF2B5EF4-FFF2-40B4-BE49-F238E27FC236}">
                <a16:creationId xmlns:a16="http://schemas.microsoft.com/office/drawing/2014/main" id="{10640506-B887-BD77-FA72-812421377935}"/>
              </a:ext>
            </a:extLst>
          </p:cNvPr>
          <p:cNvSpPr/>
          <p:nvPr/>
        </p:nvSpPr>
        <p:spPr>
          <a:xfrm>
            <a:off x="9525509" y="1583002"/>
            <a:ext cx="1377395" cy="1197735"/>
          </a:xfrm>
          <a:prstGeom prst="hexagon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latin typeface="Roboto" panose="02000000000000000000" pitchFamily="2" charset="0"/>
                <a:ea typeface="Roboto" panose="02000000000000000000" pitchFamily="2" charset="0"/>
              </a:rPr>
              <a:t>05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D4CCBD78-CD6F-1D1E-51F5-A57BC29D4BD9}"/>
              </a:ext>
            </a:extLst>
          </p:cNvPr>
          <p:cNvCxnSpPr>
            <a:cxnSpLocks/>
          </p:cNvCxnSpPr>
          <p:nvPr/>
        </p:nvCxnSpPr>
        <p:spPr>
          <a:xfrm>
            <a:off x="1970377" y="2780738"/>
            <a:ext cx="1003974" cy="1137075"/>
          </a:xfrm>
          <a:prstGeom prst="straightConnector1">
            <a:avLst/>
          </a:prstGeom>
          <a:ln w="57150">
            <a:solidFill>
              <a:srgbClr val="9CE0E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83308231-0157-D510-0A2B-CF3D7709D3EE}"/>
              </a:ext>
            </a:extLst>
          </p:cNvPr>
          <p:cNvCxnSpPr>
            <a:cxnSpLocks/>
          </p:cNvCxnSpPr>
          <p:nvPr/>
        </p:nvCxnSpPr>
        <p:spPr>
          <a:xfrm flipV="1">
            <a:off x="3941262" y="3003414"/>
            <a:ext cx="1209618" cy="1110289"/>
          </a:xfrm>
          <a:prstGeom prst="straightConnector1">
            <a:avLst/>
          </a:prstGeom>
          <a:ln w="57150">
            <a:solidFill>
              <a:srgbClr val="62CEE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9E8EE010-3571-940B-9834-65F5BF47A26B}"/>
              </a:ext>
            </a:extLst>
          </p:cNvPr>
          <p:cNvCxnSpPr>
            <a:cxnSpLocks/>
          </p:cNvCxnSpPr>
          <p:nvPr/>
        </p:nvCxnSpPr>
        <p:spPr>
          <a:xfrm>
            <a:off x="6164362" y="2780737"/>
            <a:ext cx="1003974" cy="1137075"/>
          </a:xfrm>
          <a:prstGeom prst="straightConnector1">
            <a:avLst/>
          </a:prstGeom>
          <a:ln w="57150">
            <a:solidFill>
              <a:srgbClr val="4BBA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A680D6EB-C598-DE11-94F4-D17EB1764876}"/>
              </a:ext>
            </a:extLst>
          </p:cNvPr>
          <p:cNvCxnSpPr>
            <a:cxnSpLocks/>
          </p:cNvCxnSpPr>
          <p:nvPr/>
        </p:nvCxnSpPr>
        <p:spPr>
          <a:xfrm flipV="1">
            <a:off x="8443757" y="2977655"/>
            <a:ext cx="1209618" cy="1110289"/>
          </a:xfrm>
          <a:prstGeom prst="straightConnector1">
            <a:avLst/>
          </a:prstGeom>
          <a:ln w="5715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56430DC6-AFBE-81EE-C656-221A7BA4FDED}"/>
              </a:ext>
            </a:extLst>
          </p:cNvPr>
          <p:cNvSpPr txBox="1"/>
          <p:nvPr/>
        </p:nvSpPr>
        <p:spPr>
          <a:xfrm>
            <a:off x="330335" y="3151550"/>
            <a:ext cx="2335506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$3.1 TRILLION</a:t>
            </a:r>
          </a:p>
          <a:p>
            <a:pPr algn="ctr"/>
            <a:endParaRPr lang="en-US" b="1" dirty="0">
              <a:solidFill>
                <a:schemeClr val="tx2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 algn="ctr"/>
            <a:r>
              <a:rPr lang="en-US" sz="1600" dirty="0">
                <a:latin typeface="Roboto" panose="02000000000000000000" pitchFamily="2" charset="0"/>
                <a:ea typeface="Roboto" panose="02000000000000000000" pitchFamily="2" charset="0"/>
              </a:rPr>
              <a:t>US Businesses lose $3.1 trillion annually due to poor data quality </a:t>
            </a:r>
          </a:p>
          <a:p>
            <a:pPr algn="ctr"/>
            <a:r>
              <a:rPr lang="en-US" sz="1600" dirty="0">
                <a:latin typeface="Roboto" panose="02000000000000000000" pitchFamily="2" charset="0"/>
                <a:ea typeface="Roboto" panose="02000000000000000000" pitchFamily="2" charset="0"/>
              </a:rPr>
              <a:t>(IBM)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0BB424D-5298-B4F7-4CAE-265B8202D762}"/>
              </a:ext>
            </a:extLst>
          </p:cNvPr>
          <p:cNvSpPr txBox="1"/>
          <p:nvPr/>
        </p:nvSpPr>
        <p:spPr>
          <a:xfrm>
            <a:off x="2434961" y="1170432"/>
            <a:ext cx="245398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15% OF REVENUE</a:t>
            </a:r>
          </a:p>
          <a:p>
            <a:pPr algn="ctr"/>
            <a:endParaRPr lang="en-US" b="1" dirty="0">
              <a:solidFill>
                <a:schemeClr val="tx2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 algn="ctr"/>
            <a:r>
              <a:rPr lang="en-US" sz="1600" dirty="0">
                <a:latin typeface="Roboto" panose="02000000000000000000" pitchFamily="2" charset="0"/>
                <a:ea typeface="Roboto" panose="02000000000000000000" pitchFamily="2" charset="0"/>
              </a:rPr>
              <a:t>Bad data costs companies an estimated 15% of their revenue (Gartner)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B4F2000-5700-1D3C-8198-48EAAFB4A399}"/>
              </a:ext>
            </a:extLst>
          </p:cNvPr>
          <p:cNvSpPr txBox="1"/>
          <p:nvPr/>
        </p:nvSpPr>
        <p:spPr>
          <a:xfrm>
            <a:off x="6514583" y="1170432"/>
            <a:ext cx="2973553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40-50% OF TIME</a:t>
            </a:r>
          </a:p>
          <a:p>
            <a:pPr algn="ctr"/>
            <a:endParaRPr lang="en-US" b="1" dirty="0">
              <a:solidFill>
                <a:schemeClr val="tx2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 algn="ctr"/>
            <a:r>
              <a:rPr lang="en-US" sz="1600" dirty="0">
                <a:latin typeface="Roboto" panose="02000000000000000000" pitchFamily="2" charset="0"/>
                <a:ea typeface="Roboto" panose="02000000000000000000" pitchFamily="2" charset="0"/>
              </a:rPr>
              <a:t>Analysts spend 40% of their time validating analytics data &amp; 50% of Knowledge agent’s time is spent correcting, hunting for accurate data </a:t>
            </a:r>
          </a:p>
          <a:p>
            <a:pPr algn="ctr"/>
            <a:r>
              <a:rPr lang="en-US" sz="1600" dirty="0">
                <a:latin typeface="Roboto" panose="02000000000000000000" pitchFamily="2" charset="0"/>
                <a:ea typeface="Roboto" panose="02000000000000000000" pitchFamily="2" charset="0"/>
              </a:rPr>
              <a:t>(Forrester/HBR)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975BF30-73B6-EC23-3BF9-2B59DCE61238}"/>
              </a:ext>
            </a:extLst>
          </p:cNvPr>
          <p:cNvSpPr txBox="1"/>
          <p:nvPr/>
        </p:nvSpPr>
        <p:spPr>
          <a:xfrm>
            <a:off x="4546071" y="3151550"/>
            <a:ext cx="2542395" cy="21544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CUSTOMER </a:t>
            </a:r>
          </a:p>
          <a:p>
            <a:pPr algn="ctr"/>
            <a:r>
              <a:rPr lang="en-US" b="1" dirty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IMPACT</a:t>
            </a:r>
          </a:p>
          <a:p>
            <a:pPr algn="ctr"/>
            <a:endParaRPr lang="en-US" b="1" dirty="0">
              <a:solidFill>
                <a:schemeClr val="tx2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 algn="ctr"/>
            <a:r>
              <a:rPr lang="en-US" sz="1600" dirty="0">
                <a:latin typeface="Roboto" panose="02000000000000000000" pitchFamily="2" charset="0"/>
                <a:ea typeface="Roboto" panose="02000000000000000000" pitchFamily="2" charset="0"/>
              </a:rPr>
              <a:t>Poor data quality causes a negative customer experience &amp; can decay a company’s brand image  </a:t>
            </a:r>
          </a:p>
          <a:p>
            <a:pPr algn="ctr"/>
            <a:r>
              <a:rPr lang="en-US" sz="1600" dirty="0">
                <a:latin typeface="Roboto" panose="02000000000000000000" pitchFamily="2" charset="0"/>
                <a:ea typeface="Roboto" panose="02000000000000000000" pitchFamily="2" charset="0"/>
              </a:rPr>
              <a:t>(WinPure)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6737424-85C0-0900-250B-DC2F52E9886B}"/>
              </a:ext>
            </a:extLst>
          </p:cNvPr>
          <p:cNvSpPr txBox="1"/>
          <p:nvPr/>
        </p:nvSpPr>
        <p:spPr>
          <a:xfrm>
            <a:off x="9048566" y="3155804"/>
            <a:ext cx="2652951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20-30% OF </a:t>
            </a:r>
          </a:p>
          <a:p>
            <a:pPr algn="ctr"/>
            <a:r>
              <a:rPr lang="en-US" b="1" dirty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OPERATING EXPENSES</a:t>
            </a:r>
          </a:p>
          <a:p>
            <a:pPr algn="ctr"/>
            <a:endParaRPr lang="en-US" b="1" dirty="0">
              <a:solidFill>
                <a:schemeClr val="tx2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 algn="ctr"/>
            <a:r>
              <a:rPr lang="en-US" sz="1600" dirty="0">
                <a:latin typeface="Roboto" panose="02000000000000000000" pitchFamily="2" charset="0"/>
                <a:ea typeface="Roboto" panose="02000000000000000000" pitchFamily="2" charset="0"/>
              </a:rPr>
              <a:t>Operating expenses are 20-30% higher due to bad data (Pragmatic Works)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0FE1C4A-E72A-5DF9-AC1C-9BAB73BD211C}"/>
              </a:ext>
            </a:extLst>
          </p:cNvPr>
          <p:cNvSpPr txBox="1"/>
          <p:nvPr/>
        </p:nvSpPr>
        <p:spPr>
          <a:xfrm>
            <a:off x="0" y="5727214"/>
            <a:ext cx="12192000" cy="52322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endParaRPr lang="en-US" sz="1600" dirty="0"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 algn="ctr"/>
            <a:r>
              <a:rPr lang="en-US" sz="1200" dirty="0">
                <a:latin typeface="Roboto" panose="02000000000000000000" pitchFamily="2" charset="0"/>
                <a:ea typeface="Roboto" panose="02000000000000000000" pitchFamily="2" charset="0"/>
              </a:rPr>
              <a:t>As more business processes become automated and digitized, data quality becomes the rate-limiting factor for overall quality and customer experience. (Gartner)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AF78A1C-A04B-FC4B-E716-DA00730C6A71}"/>
              </a:ext>
            </a:extLst>
          </p:cNvPr>
          <p:cNvSpPr txBox="1"/>
          <p:nvPr/>
        </p:nvSpPr>
        <p:spPr>
          <a:xfrm>
            <a:off x="0" y="5720172"/>
            <a:ext cx="12192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LIMITS DATA ADVANCEMENT</a:t>
            </a:r>
          </a:p>
        </p:txBody>
      </p:sp>
    </p:spTree>
    <p:extLst>
      <p:ext uri="{BB962C8B-B14F-4D97-AF65-F5344CB8AC3E}">
        <p14:creationId xmlns:p14="http://schemas.microsoft.com/office/powerpoint/2010/main" val="12886719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Box 6">
            <a:extLst>
              <a:ext uri="{FF2B5EF4-FFF2-40B4-BE49-F238E27FC236}">
                <a16:creationId xmlns:a16="http://schemas.microsoft.com/office/drawing/2014/main" id="{F1936F4F-16AE-9282-AB17-873018E5B0AB}"/>
              </a:ext>
            </a:extLst>
          </p:cNvPr>
          <p:cNvSpPr txBox="1"/>
          <p:nvPr/>
        </p:nvSpPr>
        <p:spPr>
          <a:xfrm>
            <a:off x="2258300" y="2579640"/>
            <a:ext cx="2159500" cy="99245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8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62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4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2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905" algn="l" defTabSz="91436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86" algn="l" defTabSz="91436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66" algn="l" defTabSz="91436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48" algn="l" defTabSz="91436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GB" sz="2650" b="1" i="0" u="none" strike="noStrike" kern="1200" cap="none" spc="0" normalizeH="0" baseline="0" noProof="0">
                <a:ln>
                  <a:noFill/>
                </a:ln>
                <a:solidFill>
                  <a:srgbClr val="FFAB4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22%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Increase</a:t>
            </a: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 in </a:t>
            </a:r>
            <a:r>
              <a:rPr kumimoji="0" lang="en-GB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model accuracy</a:t>
            </a: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 through feature and model selection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  <a:sym typeface="Arial"/>
            </a:endParaRPr>
          </a:p>
        </p:txBody>
      </p:sp>
      <p:sp>
        <p:nvSpPr>
          <p:cNvPr id="30" name="TextBox 7">
            <a:extLst>
              <a:ext uri="{FF2B5EF4-FFF2-40B4-BE49-F238E27FC236}">
                <a16:creationId xmlns:a16="http://schemas.microsoft.com/office/drawing/2014/main" id="{808C3BB1-BFC7-73F2-6607-EC931E697644}"/>
              </a:ext>
            </a:extLst>
          </p:cNvPr>
          <p:cNvSpPr txBox="1"/>
          <p:nvPr/>
        </p:nvSpPr>
        <p:spPr>
          <a:xfrm>
            <a:off x="7907208" y="4356465"/>
            <a:ext cx="2159500" cy="66928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8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62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4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2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905" algn="l" defTabSz="91436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86" algn="l" defTabSz="91436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66" algn="l" defTabSz="91436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48" algn="l" defTabSz="91436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GB" sz="2650" b="1" dirty="0">
                <a:solidFill>
                  <a:srgbClr val="FFAB40"/>
                </a:solidFill>
                <a:latin typeface="Arial"/>
                <a:cs typeface="Arial"/>
                <a:sym typeface="Arial"/>
              </a:rPr>
              <a:t>11%</a:t>
            </a:r>
          </a:p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GB" sz="105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GPU </a:t>
            </a:r>
            <a:r>
              <a:rPr lang="en-GB" sz="1050" b="1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utlization</a:t>
            </a:r>
            <a:r>
              <a:rPr lang="en-GB" sz="105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and </a:t>
            </a:r>
            <a:r>
              <a:rPr lang="en-GB" sz="105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throughput</a:t>
            </a:r>
            <a:endParaRPr lang="en-GB" sz="1050" b="1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D5FD6E66-4FAA-23CA-CC21-12AA7CFD5521}"/>
              </a:ext>
            </a:extLst>
          </p:cNvPr>
          <p:cNvSpPr/>
          <p:nvPr/>
        </p:nvSpPr>
        <p:spPr>
          <a:xfrm>
            <a:off x="7907208" y="2579640"/>
            <a:ext cx="2159500" cy="66928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8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62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4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2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905" algn="l" defTabSz="91436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86" algn="l" defTabSz="91436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66" algn="l" defTabSz="91436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48" algn="l" defTabSz="91436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GB" sz="2650" dirty="0">
                <a:solidFill>
                  <a:srgbClr val="000000"/>
                </a:solidFill>
                <a:latin typeface="Agfa Rotis Sans Serif"/>
                <a:cs typeface="Arial"/>
                <a:sym typeface="Arial"/>
              </a:rPr>
              <a:t> </a:t>
            </a:r>
            <a:r>
              <a:rPr lang="en-GB" sz="2650" b="1">
                <a:solidFill>
                  <a:srgbClr val="FFAB40"/>
                </a:solidFill>
                <a:latin typeface="Arial"/>
                <a:cs typeface="Arial"/>
                <a:sym typeface="Arial"/>
              </a:rPr>
              <a:t>24</a:t>
            </a:r>
            <a:r>
              <a:rPr lang="en-GB" sz="2650" b="1" dirty="0">
                <a:solidFill>
                  <a:srgbClr val="FFAB40"/>
                </a:solidFill>
                <a:latin typeface="Arial"/>
                <a:cs typeface="Arial"/>
                <a:sym typeface="Arial"/>
              </a:rPr>
              <a:t> </a:t>
            </a:r>
          </a:p>
          <a:p>
            <a:pPr algn="ctr" defTabSz="914400">
              <a:buClr>
                <a:srgbClr val="000000"/>
              </a:buClr>
              <a:buFont typeface="Arial"/>
              <a:buNone/>
            </a:pPr>
            <a:r>
              <a:rPr lang="en-GB" sz="1050">
                <a:solidFill>
                  <a:srgbClr val="000000"/>
                </a:solidFill>
                <a:latin typeface="Arial"/>
                <a:cs typeface="Arial"/>
                <a:sym typeface="Arial"/>
              </a:rPr>
              <a:t>Malware </a:t>
            </a:r>
            <a:r>
              <a:rPr lang="en-GB" sz="1050" b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types</a:t>
            </a:r>
            <a:r>
              <a:rPr lang="en-GB" sz="1050">
                <a:solidFill>
                  <a:srgbClr val="000000"/>
                </a:solidFill>
                <a:latin typeface="Arial"/>
                <a:cs typeface="Arial"/>
                <a:sym typeface="Arial"/>
              </a:rPr>
              <a:t> and </a:t>
            </a:r>
            <a:r>
              <a:rPr lang="en-GB" sz="1050" b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features</a:t>
            </a:r>
            <a:endParaRPr lang="en-GB" sz="1050" b="1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487E9CF-F27B-F544-763B-4309B1CEDE0D}"/>
              </a:ext>
            </a:extLst>
          </p:cNvPr>
          <p:cNvSpPr/>
          <p:nvPr/>
        </p:nvSpPr>
        <p:spPr>
          <a:xfrm>
            <a:off x="2258298" y="4314343"/>
            <a:ext cx="2159500" cy="131561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8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62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4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2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905" algn="l" defTabSz="91436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86" algn="l" defTabSz="91436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66" algn="l" defTabSz="91436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48" algn="l" defTabSz="91436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1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2650" b="1" dirty="0">
                <a:solidFill>
                  <a:srgbClr val="FFAB40"/>
                </a:solidFill>
                <a:latin typeface="Arial"/>
                <a:cs typeface="Arial"/>
                <a:sym typeface="Arial"/>
              </a:rPr>
              <a:t>3TB</a:t>
            </a:r>
            <a:endParaRPr kumimoji="0" lang="en-US" sz="2650" b="1" i="0" u="none" strike="noStrike" kern="1200" cap="none" spc="0" normalizeH="0" baseline="0" noProof="0" dirty="0">
              <a:ln>
                <a:noFill/>
              </a:ln>
              <a:solidFill>
                <a:srgbClr val="FFAB4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0" marR="0" lvl="1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Amount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 of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data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 in use: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  <a:sym typeface="Arial"/>
            </a:endParaRPr>
          </a:p>
          <a:p>
            <a:pPr marL="457200" marR="0" lvl="2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- Payload Size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  <a:sym typeface="Arial"/>
            </a:endParaRPr>
          </a:p>
          <a:p>
            <a:pPr marL="456565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- Public Vs. Intrusion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  <a:sym typeface="Arial"/>
            </a:endParaRPr>
          </a:p>
          <a:p>
            <a:pPr marL="456565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- Data transformation 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  <a:sym typeface="Arial"/>
            </a:endParaRPr>
          </a:p>
          <a:p>
            <a:pPr marL="0" marR="0" lvl="1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1AF7B943-056F-A0A7-04E2-7FA4CAAE4356}"/>
              </a:ext>
            </a:extLst>
          </p:cNvPr>
          <p:cNvSpPr/>
          <p:nvPr/>
        </p:nvSpPr>
        <p:spPr>
          <a:xfrm>
            <a:off x="5082754" y="2577238"/>
            <a:ext cx="2159500" cy="114646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8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62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4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2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905" algn="l" defTabSz="91436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86" algn="l" defTabSz="91436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66" algn="l" defTabSz="91436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48" algn="l" defTabSz="91436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1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650" b="1" i="0" u="none" strike="noStrike" kern="1200" cap="none" spc="0" normalizeH="0" baseline="0" noProof="0">
                <a:ln>
                  <a:noFill/>
                </a:ln>
                <a:solidFill>
                  <a:srgbClr val="FFAB4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2</a:t>
            </a:r>
          </a:p>
          <a:p>
            <a:pPr marL="0" marR="0" lvl="1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Anamoly </a:t>
            </a: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insights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:</a:t>
            </a:r>
          </a:p>
          <a:p>
            <a:pPr marL="0" marR="0" lvl="1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-xxxxx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  <a:sym typeface="Arial"/>
            </a:endParaRPr>
          </a:p>
          <a:p>
            <a:pPr marL="0" marR="0" lvl="1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-xxxxx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  <a:sym typeface="Arial"/>
            </a:endParaRPr>
          </a:p>
          <a:p>
            <a:pPr marL="0" marR="0" lvl="1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  <a:sym typeface="Arial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186F0F6F-E2F0-8422-040F-41424B31EE07}"/>
              </a:ext>
            </a:extLst>
          </p:cNvPr>
          <p:cNvSpPr/>
          <p:nvPr/>
        </p:nvSpPr>
        <p:spPr>
          <a:xfrm>
            <a:off x="5082754" y="4356465"/>
            <a:ext cx="2159500" cy="83086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8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62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4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2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905" algn="l" defTabSz="91436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86" algn="l" defTabSz="91436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66" algn="l" defTabSz="91436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48" algn="l" defTabSz="91436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lvl="1" algn="ctr" defTabSz="914400">
              <a:buClr>
                <a:srgbClr val="000000"/>
              </a:buClr>
              <a:buFont typeface="Arial"/>
              <a:buNone/>
            </a:pPr>
            <a:r>
              <a:rPr lang="en-US" sz="2650" b="1">
                <a:solidFill>
                  <a:srgbClr val="FFAB40"/>
                </a:solidFill>
                <a:latin typeface="Arial"/>
                <a:cs typeface="Arial"/>
                <a:sym typeface="Arial"/>
              </a:rPr>
              <a:t>40/3</a:t>
            </a:r>
          </a:p>
          <a:p>
            <a:pPr marL="0" lvl="1" algn="ctr" defTabSz="914400">
              <a:buClr>
                <a:srgbClr val="000000"/>
              </a:buClr>
              <a:buFont typeface="Arial"/>
              <a:buNone/>
            </a:pPr>
            <a:r>
              <a:rPr lang="en-US" sz="1050" b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Number</a:t>
            </a:r>
            <a:r>
              <a:rPr lang="en-US" sz="1050">
                <a:solidFill>
                  <a:srgbClr val="000000"/>
                </a:solidFill>
                <a:latin typeface="Arial"/>
                <a:cs typeface="Arial"/>
                <a:sym typeface="Arial"/>
              </a:rPr>
              <a:t> of </a:t>
            </a:r>
            <a:r>
              <a:rPr lang="en-US" sz="1050" b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Features</a:t>
            </a:r>
            <a:r>
              <a:rPr lang="en-US" sz="1050">
                <a:solidFill>
                  <a:srgbClr val="000000"/>
                </a:solidFill>
                <a:latin typeface="Arial"/>
                <a:cs typeface="Arial"/>
                <a:sym typeface="Arial"/>
              </a:rPr>
              <a:t> and </a:t>
            </a:r>
            <a:r>
              <a:rPr lang="en-US" sz="1050" b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Algorithms</a:t>
            </a:r>
            <a:r>
              <a:rPr lang="en-US" sz="1050">
                <a:solidFill>
                  <a:srgbClr val="000000"/>
                </a:solidFill>
                <a:latin typeface="Arial"/>
                <a:cs typeface="Arial"/>
                <a:sym typeface="Arial"/>
              </a:rPr>
              <a:t> being applied</a:t>
            </a:r>
            <a:endParaRPr lang="en-US" sz="1050">
              <a:solidFill>
                <a:srgbClr val="000000"/>
              </a:solidFill>
              <a:latin typeface="Arial"/>
              <a:sym typeface="Arial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DEE56F57-5309-E9AF-4340-98CAE0B2A5E9}"/>
              </a:ext>
            </a:extLst>
          </p:cNvPr>
          <p:cNvGrpSpPr/>
          <p:nvPr/>
        </p:nvGrpSpPr>
        <p:grpSpPr>
          <a:xfrm>
            <a:off x="2928176" y="1920108"/>
            <a:ext cx="741630" cy="619048"/>
            <a:chOff x="1337673" y="1504531"/>
            <a:chExt cx="1256259" cy="1048613"/>
          </a:xfrm>
        </p:grpSpPr>
        <p:sp>
          <p:nvSpPr>
            <p:cNvPr id="36" name="Freeform 103">
              <a:extLst>
                <a:ext uri="{FF2B5EF4-FFF2-40B4-BE49-F238E27FC236}">
                  <a16:creationId xmlns:a16="http://schemas.microsoft.com/office/drawing/2014/main" id="{C0DA1583-7FC6-A42E-F5D3-96F664A88A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6868" y="1705255"/>
              <a:ext cx="930947" cy="425675"/>
            </a:xfrm>
            <a:custGeom>
              <a:avLst/>
              <a:gdLst>
                <a:gd name="T0" fmla="*/ 8 w 269"/>
                <a:gd name="T1" fmla="*/ 123 h 123"/>
                <a:gd name="T2" fmla="*/ 8 w 269"/>
                <a:gd name="T3" fmla="*/ 123 h 123"/>
                <a:gd name="T4" fmla="*/ 4 w 269"/>
                <a:gd name="T5" fmla="*/ 121 h 123"/>
                <a:gd name="T6" fmla="*/ 0 w 269"/>
                <a:gd name="T7" fmla="*/ 119 h 123"/>
                <a:gd name="T8" fmla="*/ 0 w 269"/>
                <a:gd name="T9" fmla="*/ 119 h 123"/>
                <a:gd name="T10" fmla="*/ 0 w 269"/>
                <a:gd name="T11" fmla="*/ 117 h 123"/>
                <a:gd name="T12" fmla="*/ 0 w 269"/>
                <a:gd name="T13" fmla="*/ 113 h 123"/>
                <a:gd name="T14" fmla="*/ 0 w 269"/>
                <a:gd name="T15" fmla="*/ 111 h 123"/>
                <a:gd name="T16" fmla="*/ 4 w 269"/>
                <a:gd name="T17" fmla="*/ 107 h 123"/>
                <a:gd name="T18" fmla="*/ 60 w 269"/>
                <a:gd name="T19" fmla="*/ 71 h 123"/>
                <a:gd name="T20" fmla="*/ 117 w 269"/>
                <a:gd name="T21" fmla="*/ 88 h 123"/>
                <a:gd name="T22" fmla="*/ 167 w 269"/>
                <a:gd name="T23" fmla="*/ 31 h 123"/>
                <a:gd name="T24" fmla="*/ 211 w 269"/>
                <a:gd name="T25" fmla="*/ 65 h 123"/>
                <a:gd name="T26" fmla="*/ 255 w 269"/>
                <a:gd name="T27" fmla="*/ 2 h 123"/>
                <a:gd name="T28" fmla="*/ 255 w 269"/>
                <a:gd name="T29" fmla="*/ 2 h 123"/>
                <a:gd name="T30" fmla="*/ 257 w 269"/>
                <a:gd name="T31" fmla="*/ 0 h 123"/>
                <a:gd name="T32" fmla="*/ 259 w 269"/>
                <a:gd name="T33" fmla="*/ 0 h 123"/>
                <a:gd name="T34" fmla="*/ 263 w 269"/>
                <a:gd name="T35" fmla="*/ 0 h 123"/>
                <a:gd name="T36" fmla="*/ 265 w 269"/>
                <a:gd name="T37" fmla="*/ 0 h 123"/>
                <a:gd name="T38" fmla="*/ 265 w 269"/>
                <a:gd name="T39" fmla="*/ 0 h 123"/>
                <a:gd name="T40" fmla="*/ 267 w 269"/>
                <a:gd name="T41" fmla="*/ 2 h 123"/>
                <a:gd name="T42" fmla="*/ 269 w 269"/>
                <a:gd name="T43" fmla="*/ 6 h 123"/>
                <a:gd name="T44" fmla="*/ 269 w 269"/>
                <a:gd name="T45" fmla="*/ 8 h 123"/>
                <a:gd name="T46" fmla="*/ 267 w 269"/>
                <a:gd name="T47" fmla="*/ 11 h 123"/>
                <a:gd name="T48" fmla="*/ 215 w 269"/>
                <a:gd name="T49" fmla="*/ 86 h 123"/>
                <a:gd name="T50" fmla="*/ 169 w 269"/>
                <a:gd name="T51" fmla="*/ 52 h 123"/>
                <a:gd name="T52" fmla="*/ 123 w 269"/>
                <a:gd name="T53" fmla="*/ 105 h 123"/>
                <a:gd name="T54" fmla="*/ 62 w 269"/>
                <a:gd name="T55" fmla="*/ 88 h 123"/>
                <a:gd name="T56" fmla="*/ 12 w 269"/>
                <a:gd name="T57" fmla="*/ 121 h 123"/>
                <a:gd name="T58" fmla="*/ 12 w 269"/>
                <a:gd name="T59" fmla="*/ 121 h 123"/>
                <a:gd name="T60" fmla="*/ 8 w 269"/>
                <a:gd name="T61" fmla="*/ 123 h 123"/>
                <a:gd name="T62" fmla="*/ 8 w 269"/>
                <a:gd name="T63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69" h="123">
                  <a:moveTo>
                    <a:pt x="8" y="123"/>
                  </a:moveTo>
                  <a:lnTo>
                    <a:pt x="8" y="123"/>
                  </a:lnTo>
                  <a:lnTo>
                    <a:pt x="4" y="121"/>
                  </a:lnTo>
                  <a:lnTo>
                    <a:pt x="0" y="119"/>
                  </a:lnTo>
                  <a:lnTo>
                    <a:pt x="0" y="119"/>
                  </a:lnTo>
                  <a:lnTo>
                    <a:pt x="0" y="117"/>
                  </a:lnTo>
                  <a:lnTo>
                    <a:pt x="0" y="113"/>
                  </a:lnTo>
                  <a:lnTo>
                    <a:pt x="0" y="111"/>
                  </a:lnTo>
                  <a:lnTo>
                    <a:pt x="4" y="107"/>
                  </a:lnTo>
                  <a:lnTo>
                    <a:pt x="60" y="71"/>
                  </a:lnTo>
                  <a:lnTo>
                    <a:pt x="117" y="88"/>
                  </a:lnTo>
                  <a:lnTo>
                    <a:pt x="167" y="31"/>
                  </a:lnTo>
                  <a:lnTo>
                    <a:pt x="211" y="65"/>
                  </a:lnTo>
                  <a:lnTo>
                    <a:pt x="255" y="2"/>
                  </a:lnTo>
                  <a:lnTo>
                    <a:pt x="255" y="2"/>
                  </a:lnTo>
                  <a:lnTo>
                    <a:pt x="257" y="0"/>
                  </a:lnTo>
                  <a:lnTo>
                    <a:pt x="259" y="0"/>
                  </a:lnTo>
                  <a:lnTo>
                    <a:pt x="263" y="0"/>
                  </a:lnTo>
                  <a:lnTo>
                    <a:pt x="265" y="0"/>
                  </a:lnTo>
                  <a:lnTo>
                    <a:pt x="265" y="0"/>
                  </a:lnTo>
                  <a:lnTo>
                    <a:pt x="267" y="2"/>
                  </a:lnTo>
                  <a:lnTo>
                    <a:pt x="269" y="6"/>
                  </a:lnTo>
                  <a:lnTo>
                    <a:pt x="269" y="8"/>
                  </a:lnTo>
                  <a:lnTo>
                    <a:pt x="267" y="11"/>
                  </a:lnTo>
                  <a:lnTo>
                    <a:pt x="215" y="86"/>
                  </a:lnTo>
                  <a:lnTo>
                    <a:pt x="169" y="52"/>
                  </a:lnTo>
                  <a:lnTo>
                    <a:pt x="123" y="105"/>
                  </a:lnTo>
                  <a:lnTo>
                    <a:pt x="62" y="88"/>
                  </a:lnTo>
                  <a:lnTo>
                    <a:pt x="12" y="121"/>
                  </a:lnTo>
                  <a:lnTo>
                    <a:pt x="12" y="121"/>
                  </a:lnTo>
                  <a:lnTo>
                    <a:pt x="8" y="123"/>
                  </a:lnTo>
                  <a:lnTo>
                    <a:pt x="8" y="123"/>
                  </a:ln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</p:spPr>
          <p:txBody>
            <a:bodyPr vert="horz" wrap="square" lIns="68564" tIns="34282" rIns="68564" bIns="34282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18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362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54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724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5905" algn="l" defTabSz="914362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086" algn="l" defTabSz="914362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266" algn="l" defTabSz="914362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448" algn="l" defTabSz="914362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IE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  <a:sym typeface="Arial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3C09971F-D2D6-48EC-2FED-1887A990AD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875" y="2442400"/>
              <a:ext cx="328774" cy="6575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txBody>
            <a:bodyPr vert="horz" wrap="square" lIns="68564" tIns="34282" rIns="68564" bIns="34282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18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362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54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724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5905" algn="l" defTabSz="914362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086" algn="l" defTabSz="914362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266" algn="l" defTabSz="914362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448" algn="l" defTabSz="914362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IE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  <a:sym typeface="Arial"/>
              </a:endParaRPr>
            </a:p>
          </p:txBody>
        </p:sp>
        <p:sp>
          <p:nvSpPr>
            <p:cNvPr id="38" name="Freeform 105">
              <a:extLst>
                <a:ext uri="{FF2B5EF4-FFF2-40B4-BE49-F238E27FC236}">
                  <a16:creationId xmlns:a16="http://schemas.microsoft.com/office/drawing/2014/main" id="{D72CD1F7-9AF0-38B9-6B0C-48C96D49C3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37673" y="1504531"/>
              <a:ext cx="1256259" cy="917104"/>
            </a:xfrm>
            <a:custGeom>
              <a:avLst/>
              <a:gdLst>
                <a:gd name="T0" fmla="*/ 355 w 363"/>
                <a:gd name="T1" fmla="*/ 0 h 265"/>
                <a:gd name="T2" fmla="*/ 10 w 363"/>
                <a:gd name="T3" fmla="*/ 0 h 265"/>
                <a:gd name="T4" fmla="*/ 10 w 363"/>
                <a:gd name="T5" fmla="*/ 0 h 265"/>
                <a:gd name="T6" fmla="*/ 6 w 363"/>
                <a:gd name="T7" fmla="*/ 2 h 265"/>
                <a:gd name="T8" fmla="*/ 2 w 363"/>
                <a:gd name="T9" fmla="*/ 4 h 265"/>
                <a:gd name="T10" fmla="*/ 0 w 363"/>
                <a:gd name="T11" fmla="*/ 6 h 265"/>
                <a:gd name="T12" fmla="*/ 0 w 363"/>
                <a:gd name="T13" fmla="*/ 10 h 265"/>
                <a:gd name="T14" fmla="*/ 0 w 363"/>
                <a:gd name="T15" fmla="*/ 255 h 265"/>
                <a:gd name="T16" fmla="*/ 0 w 363"/>
                <a:gd name="T17" fmla="*/ 255 h 265"/>
                <a:gd name="T18" fmla="*/ 0 w 363"/>
                <a:gd name="T19" fmla="*/ 259 h 265"/>
                <a:gd name="T20" fmla="*/ 2 w 363"/>
                <a:gd name="T21" fmla="*/ 263 h 265"/>
                <a:gd name="T22" fmla="*/ 6 w 363"/>
                <a:gd name="T23" fmla="*/ 265 h 265"/>
                <a:gd name="T24" fmla="*/ 10 w 363"/>
                <a:gd name="T25" fmla="*/ 265 h 265"/>
                <a:gd name="T26" fmla="*/ 355 w 363"/>
                <a:gd name="T27" fmla="*/ 265 h 265"/>
                <a:gd name="T28" fmla="*/ 355 w 363"/>
                <a:gd name="T29" fmla="*/ 265 h 265"/>
                <a:gd name="T30" fmla="*/ 359 w 363"/>
                <a:gd name="T31" fmla="*/ 265 h 265"/>
                <a:gd name="T32" fmla="*/ 361 w 363"/>
                <a:gd name="T33" fmla="*/ 263 h 265"/>
                <a:gd name="T34" fmla="*/ 363 w 363"/>
                <a:gd name="T35" fmla="*/ 259 h 265"/>
                <a:gd name="T36" fmla="*/ 363 w 363"/>
                <a:gd name="T37" fmla="*/ 255 h 265"/>
                <a:gd name="T38" fmla="*/ 363 w 363"/>
                <a:gd name="T39" fmla="*/ 10 h 265"/>
                <a:gd name="T40" fmla="*/ 363 w 363"/>
                <a:gd name="T41" fmla="*/ 10 h 265"/>
                <a:gd name="T42" fmla="*/ 363 w 363"/>
                <a:gd name="T43" fmla="*/ 6 h 265"/>
                <a:gd name="T44" fmla="*/ 361 w 363"/>
                <a:gd name="T45" fmla="*/ 4 h 265"/>
                <a:gd name="T46" fmla="*/ 359 w 363"/>
                <a:gd name="T47" fmla="*/ 2 h 265"/>
                <a:gd name="T48" fmla="*/ 355 w 363"/>
                <a:gd name="T49" fmla="*/ 0 h 265"/>
                <a:gd name="T50" fmla="*/ 355 w 363"/>
                <a:gd name="T51" fmla="*/ 0 h 265"/>
                <a:gd name="T52" fmla="*/ 342 w 363"/>
                <a:gd name="T53" fmla="*/ 207 h 265"/>
                <a:gd name="T54" fmla="*/ 23 w 363"/>
                <a:gd name="T55" fmla="*/ 207 h 265"/>
                <a:gd name="T56" fmla="*/ 23 w 363"/>
                <a:gd name="T57" fmla="*/ 23 h 265"/>
                <a:gd name="T58" fmla="*/ 342 w 363"/>
                <a:gd name="T59" fmla="*/ 23 h 265"/>
                <a:gd name="T60" fmla="*/ 342 w 363"/>
                <a:gd name="T61" fmla="*/ 207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63" h="265">
                  <a:moveTo>
                    <a:pt x="355" y="0"/>
                  </a:moveTo>
                  <a:lnTo>
                    <a:pt x="10" y="0"/>
                  </a:lnTo>
                  <a:lnTo>
                    <a:pt x="10" y="0"/>
                  </a:lnTo>
                  <a:lnTo>
                    <a:pt x="6" y="2"/>
                  </a:lnTo>
                  <a:lnTo>
                    <a:pt x="2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255"/>
                  </a:lnTo>
                  <a:lnTo>
                    <a:pt x="0" y="255"/>
                  </a:lnTo>
                  <a:lnTo>
                    <a:pt x="0" y="259"/>
                  </a:lnTo>
                  <a:lnTo>
                    <a:pt x="2" y="263"/>
                  </a:lnTo>
                  <a:lnTo>
                    <a:pt x="6" y="265"/>
                  </a:lnTo>
                  <a:lnTo>
                    <a:pt x="10" y="265"/>
                  </a:lnTo>
                  <a:lnTo>
                    <a:pt x="355" y="265"/>
                  </a:lnTo>
                  <a:lnTo>
                    <a:pt x="355" y="265"/>
                  </a:lnTo>
                  <a:lnTo>
                    <a:pt x="359" y="265"/>
                  </a:lnTo>
                  <a:lnTo>
                    <a:pt x="361" y="263"/>
                  </a:lnTo>
                  <a:lnTo>
                    <a:pt x="363" y="259"/>
                  </a:lnTo>
                  <a:lnTo>
                    <a:pt x="363" y="255"/>
                  </a:lnTo>
                  <a:lnTo>
                    <a:pt x="363" y="10"/>
                  </a:lnTo>
                  <a:lnTo>
                    <a:pt x="363" y="10"/>
                  </a:lnTo>
                  <a:lnTo>
                    <a:pt x="363" y="6"/>
                  </a:lnTo>
                  <a:lnTo>
                    <a:pt x="361" y="4"/>
                  </a:lnTo>
                  <a:lnTo>
                    <a:pt x="359" y="2"/>
                  </a:lnTo>
                  <a:lnTo>
                    <a:pt x="355" y="0"/>
                  </a:lnTo>
                  <a:lnTo>
                    <a:pt x="355" y="0"/>
                  </a:lnTo>
                  <a:close/>
                  <a:moveTo>
                    <a:pt x="342" y="207"/>
                  </a:moveTo>
                  <a:lnTo>
                    <a:pt x="23" y="207"/>
                  </a:lnTo>
                  <a:lnTo>
                    <a:pt x="23" y="23"/>
                  </a:lnTo>
                  <a:lnTo>
                    <a:pt x="342" y="23"/>
                  </a:lnTo>
                  <a:lnTo>
                    <a:pt x="342" y="207"/>
                  </a:ln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</p:spPr>
          <p:txBody>
            <a:bodyPr vert="horz" wrap="square" lIns="68564" tIns="34282" rIns="68564" bIns="34282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18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362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54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724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5905" algn="l" defTabSz="914362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086" algn="l" defTabSz="914362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266" algn="l" defTabSz="914362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448" algn="l" defTabSz="914362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IE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  <a:sym typeface="Arial"/>
              </a:endParaRPr>
            </a:p>
          </p:txBody>
        </p:sp>
        <p:sp>
          <p:nvSpPr>
            <p:cNvPr id="39" name="Freeform 106">
              <a:extLst>
                <a:ext uri="{FF2B5EF4-FFF2-40B4-BE49-F238E27FC236}">
                  <a16:creationId xmlns:a16="http://schemas.microsoft.com/office/drawing/2014/main" id="{B2438F40-0087-8A72-77BC-A77408A40F3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7593" y="2521996"/>
              <a:ext cx="536420" cy="31148"/>
            </a:xfrm>
            <a:custGeom>
              <a:avLst/>
              <a:gdLst>
                <a:gd name="T0" fmla="*/ 149 w 155"/>
                <a:gd name="T1" fmla="*/ 0 h 9"/>
                <a:gd name="T2" fmla="*/ 8 w 155"/>
                <a:gd name="T3" fmla="*/ 0 h 9"/>
                <a:gd name="T4" fmla="*/ 8 w 155"/>
                <a:gd name="T5" fmla="*/ 0 h 9"/>
                <a:gd name="T6" fmla="*/ 2 w 155"/>
                <a:gd name="T7" fmla="*/ 2 h 9"/>
                <a:gd name="T8" fmla="*/ 0 w 155"/>
                <a:gd name="T9" fmla="*/ 7 h 9"/>
                <a:gd name="T10" fmla="*/ 0 w 155"/>
                <a:gd name="T11" fmla="*/ 9 h 9"/>
                <a:gd name="T12" fmla="*/ 155 w 155"/>
                <a:gd name="T13" fmla="*/ 9 h 9"/>
                <a:gd name="T14" fmla="*/ 155 w 155"/>
                <a:gd name="T15" fmla="*/ 7 h 9"/>
                <a:gd name="T16" fmla="*/ 155 w 155"/>
                <a:gd name="T17" fmla="*/ 7 h 9"/>
                <a:gd name="T18" fmla="*/ 153 w 155"/>
                <a:gd name="T19" fmla="*/ 2 h 9"/>
                <a:gd name="T20" fmla="*/ 149 w 155"/>
                <a:gd name="T21" fmla="*/ 0 h 9"/>
                <a:gd name="T22" fmla="*/ 149 w 155"/>
                <a:gd name="T2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5" h="9">
                  <a:moveTo>
                    <a:pt x="149" y="0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2" y="2"/>
                  </a:lnTo>
                  <a:lnTo>
                    <a:pt x="0" y="7"/>
                  </a:lnTo>
                  <a:lnTo>
                    <a:pt x="0" y="9"/>
                  </a:lnTo>
                  <a:lnTo>
                    <a:pt x="155" y="9"/>
                  </a:lnTo>
                  <a:lnTo>
                    <a:pt x="155" y="7"/>
                  </a:lnTo>
                  <a:lnTo>
                    <a:pt x="155" y="7"/>
                  </a:lnTo>
                  <a:lnTo>
                    <a:pt x="153" y="2"/>
                  </a:lnTo>
                  <a:lnTo>
                    <a:pt x="149" y="0"/>
                  </a:lnTo>
                  <a:lnTo>
                    <a:pt x="149" y="0"/>
                  </a:ln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</p:spPr>
          <p:txBody>
            <a:bodyPr vert="horz" wrap="square" lIns="68564" tIns="34282" rIns="68564" bIns="34282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18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362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54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724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5905" algn="l" defTabSz="914362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086" algn="l" defTabSz="914362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266" algn="l" defTabSz="914362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448" algn="l" defTabSz="914362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IE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  <a:sym typeface="Arial"/>
              </a:endParaRPr>
            </a:p>
          </p:txBody>
        </p: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1631AFD3-54DB-49B8-0A94-327C143D4E45}"/>
                </a:ext>
              </a:extLst>
            </p:cNvPr>
            <p:cNvGrpSpPr/>
            <p:nvPr/>
          </p:nvGrpSpPr>
          <p:grpSpPr>
            <a:xfrm>
              <a:off x="1451877" y="1656805"/>
              <a:ext cx="1020927" cy="519114"/>
              <a:chOff x="1451877" y="1656805"/>
              <a:chExt cx="1020927" cy="519114"/>
            </a:xfrm>
          </p:grpSpPr>
          <p:sp>
            <p:nvSpPr>
              <p:cNvPr id="41" name="Freeform 107">
                <a:extLst>
                  <a:ext uri="{FF2B5EF4-FFF2-40B4-BE49-F238E27FC236}">
                    <a16:creationId xmlns:a16="http://schemas.microsoft.com/office/drawing/2014/main" id="{F5790EB1-B126-642E-0774-B900F493DD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1877" y="2030567"/>
                <a:ext cx="145352" cy="145352"/>
              </a:xfrm>
              <a:custGeom>
                <a:avLst/>
                <a:gdLst>
                  <a:gd name="T0" fmla="*/ 42 w 42"/>
                  <a:gd name="T1" fmla="*/ 21 h 42"/>
                  <a:gd name="T2" fmla="*/ 42 w 42"/>
                  <a:gd name="T3" fmla="*/ 21 h 42"/>
                  <a:gd name="T4" fmla="*/ 40 w 42"/>
                  <a:gd name="T5" fmla="*/ 29 h 42"/>
                  <a:gd name="T6" fmla="*/ 34 w 42"/>
                  <a:gd name="T7" fmla="*/ 34 h 42"/>
                  <a:gd name="T8" fmla="*/ 29 w 42"/>
                  <a:gd name="T9" fmla="*/ 40 h 42"/>
                  <a:gd name="T10" fmla="*/ 21 w 42"/>
                  <a:gd name="T11" fmla="*/ 42 h 42"/>
                  <a:gd name="T12" fmla="*/ 21 w 42"/>
                  <a:gd name="T13" fmla="*/ 42 h 42"/>
                  <a:gd name="T14" fmla="*/ 13 w 42"/>
                  <a:gd name="T15" fmla="*/ 40 h 42"/>
                  <a:gd name="T16" fmla="*/ 6 w 42"/>
                  <a:gd name="T17" fmla="*/ 34 h 42"/>
                  <a:gd name="T18" fmla="*/ 2 w 42"/>
                  <a:gd name="T19" fmla="*/ 29 h 42"/>
                  <a:gd name="T20" fmla="*/ 0 w 42"/>
                  <a:gd name="T21" fmla="*/ 21 h 42"/>
                  <a:gd name="T22" fmla="*/ 0 w 42"/>
                  <a:gd name="T23" fmla="*/ 21 h 42"/>
                  <a:gd name="T24" fmla="*/ 2 w 42"/>
                  <a:gd name="T25" fmla="*/ 13 h 42"/>
                  <a:gd name="T26" fmla="*/ 6 w 42"/>
                  <a:gd name="T27" fmla="*/ 6 h 42"/>
                  <a:gd name="T28" fmla="*/ 13 w 42"/>
                  <a:gd name="T29" fmla="*/ 2 h 42"/>
                  <a:gd name="T30" fmla="*/ 21 w 42"/>
                  <a:gd name="T31" fmla="*/ 0 h 42"/>
                  <a:gd name="T32" fmla="*/ 21 w 42"/>
                  <a:gd name="T33" fmla="*/ 0 h 42"/>
                  <a:gd name="T34" fmla="*/ 29 w 42"/>
                  <a:gd name="T35" fmla="*/ 2 h 42"/>
                  <a:gd name="T36" fmla="*/ 34 w 42"/>
                  <a:gd name="T37" fmla="*/ 6 h 42"/>
                  <a:gd name="T38" fmla="*/ 40 w 42"/>
                  <a:gd name="T39" fmla="*/ 13 h 42"/>
                  <a:gd name="T40" fmla="*/ 42 w 42"/>
                  <a:gd name="T41" fmla="*/ 21 h 42"/>
                  <a:gd name="T42" fmla="*/ 42 w 42"/>
                  <a:gd name="T43" fmla="*/ 2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2">
                    <a:moveTo>
                      <a:pt x="42" y="21"/>
                    </a:moveTo>
                    <a:lnTo>
                      <a:pt x="42" y="21"/>
                    </a:lnTo>
                    <a:lnTo>
                      <a:pt x="40" y="29"/>
                    </a:lnTo>
                    <a:lnTo>
                      <a:pt x="34" y="34"/>
                    </a:lnTo>
                    <a:lnTo>
                      <a:pt x="29" y="40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13" y="40"/>
                    </a:lnTo>
                    <a:lnTo>
                      <a:pt x="6" y="34"/>
                    </a:lnTo>
                    <a:lnTo>
                      <a:pt x="2" y="29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2" y="13"/>
                    </a:lnTo>
                    <a:lnTo>
                      <a:pt x="6" y="6"/>
                    </a:lnTo>
                    <a:lnTo>
                      <a:pt x="13" y="2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29" y="2"/>
                    </a:lnTo>
                    <a:lnTo>
                      <a:pt x="34" y="6"/>
                    </a:lnTo>
                    <a:lnTo>
                      <a:pt x="40" y="13"/>
                    </a:lnTo>
                    <a:lnTo>
                      <a:pt x="42" y="21"/>
                    </a:lnTo>
                    <a:lnTo>
                      <a:pt x="42" y="21"/>
                    </a:lnTo>
                    <a:close/>
                  </a:path>
                </a:pathLst>
              </a:custGeom>
              <a:solidFill>
                <a:srgbClr val="0070C0"/>
              </a:solidFill>
              <a:ln>
                <a:noFill/>
              </a:ln>
            </p:spPr>
            <p:txBody>
              <a:bodyPr vert="horz" wrap="square" lIns="68564" tIns="34282" rIns="68564" bIns="34282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181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362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543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724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5905" algn="l" defTabSz="914362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086" algn="l" defTabSz="914362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266" algn="l" defTabSz="914362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448" algn="l" defTabSz="914362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IE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  <a:sym typeface="Arial"/>
                </a:endParaRPr>
              </a:p>
            </p:txBody>
          </p:sp>
          <p:sp>
            <p:nvSpPr>
              <p:cNvPr id="42" name="Freeform 108">
                <a:extLst>
                  <a:ext uri="{FF2B5EF4-FFF2-40B4-BE49-F238E27FC236}">
                    <a16:creationId xmlns:a16="http://schemas.microsoft.com/office/drawing/2014/main" id="{E30AB499-97C7-620C-C002-65CE834599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8759" y="1909442"/>
                <a:ext cx="138431" cy="141892"/>
              </a:xfrm>
              <a:custGeom>
                <a:avLst/>
                <a:gdLst>
                  <a:gd name="T0" fmla="*/ 40 w 40"/>
                  <a:gd name="T1" fmla="*/ 19 h 41"/>
                  <a:gd name="T2" fmla="*/ 40 w 40"/>
                  <a:gd name="T3" fmla="*/ 19 h 41"/>
                  <a:gd name="T4" fmla="*/ 40 w 40"/>
                  <a:gd name="T5" fmla="*/ 29 h 41"/>
                  <a:gd name="T6" fmla="*/ 34 w 40"/>
                  <a:gd name="T7" fmla="*/ 35 h 41"/>
                  <a:gd name="T8" fmla="*/ 28 w 40"/>
                  <a:gd name="T9" fmla="*/ 39 h 41"/>
                  <a:gd name="T10" fmla="*/ 21 w 40"/>
                  <a:gd name="T11" fmla="*/ 41 h 41"/>
                  <a:gd name="T12" fmla="*/ 21 w 40"/>
                  <a:gd name="T13" fmla="*/ 41 h 41"/>
                  <a:gd name="T14" fmla="*/ 11 w 40"/>
                  <a:gd name="T15" fmla="*/ 39 h 41"/>
                  <a:gd name="T16" fmla="*/ 5 w 40"/>
                  <a:gd name="T17" fmla="*/ 35 h 41"/>
                  <a:gd name="T18" fmla="*/ 1 w 40"/>
                  <a:gd name="T19" fmla="*/ 29 h 41"/>
                  <a:gd name="T20" fmla="*/ 0 w 40"/>
                  <a:gd name="T21" fmla="*/ 19 h 41"/>
                  <a:gd name="T22" fmla="*/ 0 w 40"/>
                  <a:gd name="T23" fmla="*/ 19 h 41"/>
                  <a:gd name="T24" fmla="*/ 1 w 40"/>
                  <a:gd name="T25" fmla="*/ 12 h 41"/>
                  <a:gd name="T26" fmla="*/ 5 w 40"/>
                  <a:gd name="T27" fmla="*/ 6 h 41"/>
                  <a:gd name="T28" fmla="*/ 11 w 40"/>
                  <a:gd name="T29" fmla="*/ 0 h 41"/>
                  <a:gd name="T30" fmla="*/ 21 w 40"/>
                  <a:gd name="T31" fmla="*/ 0 h 41"/>
                  <a:gd name="T32" fmla="*/ 21 w 40"/>
                  <a:gd name="T33" fmla="*/ 0 h 41"/>
                  <a:gd name="T34" fmla="*/ 28 w 40"/>
                  <a:gd name="T35" fmla="*/ 0 h 41"/>
                  <a:gd name="T36" fmla="*/ 34 w 40"/>
                  <a:gd name="T37" fmla="*/ 6 h 41"/>
                  <a:gd name="T38" fmla="*/ 40 w 40"/>
                  <a:gd name="T39" fmla="*/ 12 h 41"/>
                  <a:gd name="T40" fmla="*/ 40 w 40"/>
                  <a:gd name="T41" fmla="*/ 19 h 41"/>
                  <a:gd name="T42" fmla="*/ 40 w 40"/>
                  <a:gd name="T43" fmla="*/ 19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41">
                    <a:moveTo>
                      <a:pt x="40" y="19"/>
                    </a:moveTo>
                    <a:lnTo>
                      <a:pt x="40" y="19"/>
                    </a:lnTo>
                    <a:lnTo>
                      <a:pt x="40" y="29"/>
                    </a:lnTo>
                    <a:lnTo>
                      <a:pt x="34" y="35"/>
                    </a:lnTo>
                    <a:lnTo>
                      <a:pt x="28" y="39"/>
                    </a:lnTo>
                    <a:lnTo>
                      <a:pt x="21" y="41"/>
                    </a:lnTo>
                    <a:lnTo>
                      <a:pt x="21" y="41"/>
                    </a:lnTo>
                    <a:lnTo>
                      <a:pt x="11" y="39"/>
                    </a:lnTo>
                    <a:lnTo>
                      <a:pt x="5" y="35"/>
                    </a:lnTo>
                    <a:lnTo>
                      <a:pt x="1" y="29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1" y="12"/>
                    </a:lnTo>
                    <a:lnTo>
                      <a:pt x="5" y="6"/>
                    </a:lnTo>
                    <a:lnTo>
                      <a:pt x="11" y="0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28" y="0"/>
                    </a:lnTo>
                    <a:lnTo>
                      <a:pt x="34" y="6"/>
                    </a:lnTo>
                    <a:lnTo>
                      <a:pt x="40" y="12"/>
                    </a:lnTo>
                    <a:lnTo>
                      <a:pt x="40" y="19"/>
                    </a:lnTo>
                    <a:lnTo>
                      <a:pt x="40" y="19"/>
                    </a:lnTo>
                    <a:close/>
                  </a:path>
                </a:pathLst>
              </a:custGeom>
              <a:solidFill>
                <a:srgbClr val="0070C0"/>
              </a:solidFill>
              <a:ln>
                <a:noFill/>
              </a:ln>
            </p:spPr>
            <p:txBody>
              <a:bodyPr vert="horz" wrap="square" lIns="68564" tIns="34282" rIns="68564" bIns="34282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181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362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543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724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5905" algn="l" defTabSz="914362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086" algn="l" defTabSz="914362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266" algn="l" defTabSz="914362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448" algn="l" defTabSz="914362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IE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  <a:sym typeface="Arial"/>
                </a:endParaRPr>
              </a:p>
            </p:txBody>
          </p:sp>
          <p:sp>
            <p:nvSpPr>
              <p:cNvPr id="43" name="Freeform 109">
                <a:extLst>
                  <a:ext uri="{FF2B5EF4-FFF2-40B4-BE49-F238E27FC236}">
                    <a16:creationId xmlns:a16="http://schemas.microsoft.com/office/drawing/2014/main" id="{EE34AB46-DE88-06D2-665D-D2E57351B5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42945" y="1964814"/>
                <a:ext cx="145352" cy="145352"/>
              </a:xfrm>
              <a:custGeom>
                <a:avLst/>
                <a:gdLst>
                  <a:gd name="T0" fmla="*/ 42 w 42"/>
                  <a:gd name="T1" fmla="*/ 21 h 42"/>
                  <a:gd name="T2" fmla="*/ 42 w 42"/>
                  <a:gd name="T3" fmla="*/ 21 h 42"/>
                  <a:gd name="T4" fmla="*/ 40 w 42"/>
                  <a:gd name="T5" fmla="*/ 30 h 42"/>
                  <a:gd name="T6" fmla="*/ 35 w 42"/>
                  <a:gd name="T7" fmla="*/ 36 h 42"/>
                  <a:gd name="T8" fmla="*/ 29 w 42"/>
                  <a:gd name="T9" fmla="*/ 40 h 42"/>
                  <a:gd name="T10" fmla="*/ 21 w 42"/>
                  <a:gd name="T11" fmla="*/ 42 h 42"/>
                  <a:gd name="T12" fmla="*/ 21 w 42"/>
                  <a:gd name="T13" fmla="*/ 42 h 42"/>
                  <a:gd name="T14" fmla="*/ 13 w 42"/>
                  <a:gd name="T15" fmla="*/ 40 h 42"/>
                  <a:gd name="T16" fmla="*/ 6 w 42"/>
                  <a:gd name="T17" fmla="*/ 36 h 42"/>
                  <a:gd name="T18" fmla="*/ 2 w 42"/>
                  <a:gd name="T19" fmla="*/ 30 h 42"/>
                  <a:gd name="T20" fmla="*/ 0 w 42"/>
                  <a:gd name="T21" fmla="*/ 21 h 42"/>
                  <a:gd name="T22" fmla="*/ 0 w 42"/>
                  <a:gd name="T23" fmla="*/ 21 h 42"/>
                  <a:gd name="T24" fmla="*/ 2 w 42"/>
                  <a:gd name="T25" fmla="*/ 13 h 42"/>
                  <a:gd name="T26" fmla="*/ 6 w 42"/>
                  <a:gd name="T27" fmla="*/ 7 h 42"/>
                  <a:gd name="T28" fmla="*/ 13 w 42"/>
                  <a:gd name="T29" fmla="*/ 2 h 42"/>
                  <a:gd name="T30" fmla="*/ 21 w 42"/>
                  <a:gd name="T31" fmla="*/ 0 h 42"/>
                  <a:gd name="T32" fmla="*/ 21 w 42"/>
                  <a:gd name="T33" fmla="*/ 0 h 42"/>
                  <a:gd name="T34" fmla="*/ 29 w 42"/>
                  <a:gd name="T35" fmla="*/ 2 h 42"/>
                  <a:gd name="T36" fmla="*/ 35 w 42"/>
                  <a:gd name="T37" fmla="*/ 7 h 42"/>
                  <a:gd name="T38" fmla="*/ 40 w 42"/>
                  <a:gd name="T39" fmla="*/ 13 h 42"/>
                  <a:gd name="T40" fmla="*/ 42 w 42"/>
                  <a:gd name="T41" fmla="*/ 21 h 42"/>
                  <a:gd name="T42" fmla="*/ 42 w 42"/>
                  <a:gd name="T43" fmla="*/ 2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2">
                    <a:moveTo>
                      <a:pt x="42" y="21"/>
                    </a:moveTo>
                    <a:lnTo>
                      <a:pt x="42" y="21"/>
                    </a:lnTo>
                    <a:lnTo>
                      <a:pt x="40" y="30"/>
                    </a:lnTo>
                    <a:lnTo>
                      <a:pt x="35" y="36"/>
                    </a:lnTo>
                    <a:lnTo>
                      <a:pt x="29" y="40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13" y="40"/>
                    </a:lnTo>
                    <a:lnTo>
                      <a:pt x="6" y="36"/>
                    </a:lnTo>
                    <a:lnTo>
                      <a:pt x="2" y="30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2" y="13"/>
                    </a:lnTo>
                    <a:lnTo>
                      <a:pt x="6" y="7"/>
                    </a:lnTo>
                    <a:lnTo>
                      <a:pt x="13" y="2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29" y="2"/>
                    </a:lnTo>
                    <a:lnTo>
                      <a:pt x="35" y="7"/>
                    </a:lnTo>
                    <a:lnTo>
                      <a:pt x="40" y="13"/>
                    </a:lnTo>
                    <a:lnTo>
                      <a:pt x="42" y="21"/>
                    </a:lnTo>
                    <a:lnTo>
                      <a:pt x="42" y="21"/>
                    </a:lnTo>
                    <a:close/>
                  </a:path>
                </a:pathLst>
              </a:custGeom>
              <a:solidFill>
                <a:srgbClr val="0070C0"/>
              </a:solidFill>
              <a:ln>
                <a:noFill/>
              </a:ln>
            </p:spPr>
            <p:txBody>
              <a:bodyPr vert="horz" wrap="square" lIns="68564" tIns="34282" rIns="68564" bIns="34282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181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362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543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724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5905" algn="l" defTabSz="914362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086" algn="l" defTabSz="914362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266" algn="l" defTabSz="914362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448" algn="l" defTabSz="914362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IE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  <a:sym typeface="Arial"/>
                </a:endParaRPr>
              </a:p>
            </p:txBody>
          </p:sp>
          <p:sp>
            <p:nvSpPr>
              <p:cNvPr id="44" name="Freeform 110">
                <a:extLst>
                  <a:ext uri="{FF2B5EF4-FFF2-40B4-BE49-F238E27FC236}">
                    <a16:creationId xmlns:a16="http://schemas.microsoft.com/office/drawing/2014/main" id="{0796946D-6A68-5C5A-52E1-0B0C95AC19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02140" y="1777933"/>
                <a:ext cx="145352" cy="145352"/>
              </a:xfrm>
              <a:custGeom>
                <a:avLst/>
                <a:gdLst>
                  <a:gd name="T0" fmla="*/ 42 w 42"/>
                  <a:gd name="T1" fmla="*/ 21 h 42"/>
                  <a:gd name="T2" fmla="*/ 42 w 42"/>
                  <a:gd name="T3" fmla="*/ 21 h 42"/>
                  <a:gd name="T4" fmla="*/ 40 w 42"/>
                  <a:gd name="T5" fmla="*/ 29 h 42"/>
                  <a:gd name="T6" fmla="*/ 36 w 42"/>
                  <a:gd name="T7" fmla="*/ 36 h 42"/>
                  <a:gd name="T8" fmla="*/ 29 w 42"/>
                  <a:gd name="T9" fmla="*/ 40 h 42"/>
                  <a:gd name="T10" fmla="*/ 21 w 42"/>
                  <a:gd name="T11" fmla="*/ 42 h 42"/>
                  <a:gd name="T12" fmla="*/ 21 w 42"/>
                  <a:gd name="T13" fmla="*/ 42 h 42"/>
                  <a:gd name="T14" fmla="*/ 13 w 42"/>
                  <a:gd name="T15" fmla="*/ 40 h 42"/>
                  <a:gd name="T16" fmla="*/ 8 w 42"/>
                  <a:gd name="T17" fmla="*/ 36 h 42"/>
                  <a:gd name="T18" fmla="*/ 2 w 42"/>
                  <a:gd name="T19" fmla="*/ 29 h 42"/>
                  <a:gd name="T20" fmla="*/ 0 w 42"/>
                  <a:gd name="T21" fmla="*/ 21 h 42"/>
                  <a:gd name="T22" fmla="*/ 0 w 42"/>
                  <a:gd name="T23" fmla="*/ 21 h 42"/>
                  <a:gd name="T24" fmla="*/ 2 w 42"/>
                  <a:gd name="T25" fmla="*/ 13 h 42"/>
                  <a:gd name="T26" fmla="*/ 8 w 42"/>
                  <a:gd name="T27" fmla="*/ 6 h 42"/>
                  <a:gd name="T28" fmla="*/ 13 w 42"/>
                  <a:gd name="T29" fmla="*/ 2 h 42"/>
                  <a:gd name="T30" fmla="*/ 21 w 42"/>
                  <a:gd name="T31" fmla="*/ 0 h 42"/>
                  <a:gd name="T32" fmla="*/ 21 w 42"/>
                  <a:gd name="T33" fmla="*/ 0 h 42"/>
                  <a:gd name="T34" fmla="*/ 29 w 42"/>
                  <a:gd name="T35" fmla="*/ 2 h 42"/>
                  <a:gd name="T36" fmla="*/ 36 w 42"/>
                  <a:gd name="T37" fmla="*/ 6 h 42"/>
                  <a:gd name="T38" fmla="*/ 40 w 42"/>
                  <a:gd name="T39" fmla="*/ 13 h 42"/>
                  <a:gd name="T40" fmla="*/ 42 w 42"/>
                  <a:gd name="T41" fmla="*/ 21 h 42"/>
                  <a:gd name="T42" fmla="*/ 42 w 42"/>
                  <a:gd name="T43" fmla="*/ 2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2">
                    <a:moveTo>
                      <a:pt x="42" y="21"/>
                    </a:moveTo>
                    <a:lnTo>
                      <a:pt x="42" y="21"/>
                    </a:lnTo>
                    <a:lnTo>
                      <a:pt x="40" y="29"/>
                    </a:lnTo>
                    <a:lnTo>
                      <a:pt x="36" y="36"/>
                    </a:lnTo>
                    <a:lnTo>
                      <a:pt x="29" y="40"/>
                    </a:lnTo>
                    <a:lnTo>
                      <a:pt x="21" y="42"/>
                    </a:lnTo>
                    <a:lnTo>
                      <a:pt x="21" y="42"/>
                    </a:lnTo>
                    <a:lnTo>
                      <a:pt x="13" y="40"/>
                    </a:lnTo>
                    <a:lnTo>
                      <a:pt x="8" y="36"/>
                    </a:lnTo>
                    <a:lnTo>
                      <a:pt x="2" y="29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2" y="13"/>
                    </a:lnTo>
                    <a:lnTo>
                      <a:pt x="8" y="6"/>
                    </a:lnTo>
                    <a:lnTo>
                      <a:pt x="13" y="2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29" y="2"/>
                    </a:lnTo>
                    <a:lnTo>
                      <a:pt x="36" y="6"/>
                    </a:lnTo>
                    <a:lnTo>
                      <a:pt x="40" y="13"/>
                    </a:lnTo>
                    <a:lnTo>
                      <a:pt x="42" y="21"/>
                    </a:lnTo>
                    <a:lnTo>
                      <a:pt x="42" y="21"/>
                    </a:lnTo>
                    <a:close/>
                  </a:path>
                </a:pathLst>
              </a:custGeom>
              <a:solidFill>
                <a:srgbClr val="0070C0"/>
              </a:solidFill>
              <a:ln>
                <a:noFill/>
              </a:ln>
            </p:spPr>
            <p:txBody>
              <a:bodyPr vert="horz" wrap="square" lIns="68564" tIns="34282" rIns="68564" bIns="34282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181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362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543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724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5905" algn="l" defTabSz="914362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086" algn="l" defTabSz="914362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266" algn="l" defTabSz="914362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448" algn="l" defTabSz="914362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IE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  <a:sym typeface="Arial"/>
                </a:endParaRPr>
              </a:p>
            </p:txBody>
          </p:sp>
          <p:sp>
            <p:nvSpPr>
              <p:cNvPr id="45" name="Freeform 111">
                <a:extLst>
                  <a:ext uri="{FF2B5EF4-FFF2-40B4-BE49-F238E27FC236}">
                    <a16:creationId xmlns:a16="http://schemas.microsoft.com/office/drawing/2014/main" id="{AD226609-55EA-2683-BB45-86C797E705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61335" y="1895599"/>
                <a:ext cx="145352" cy="141892"/>
              </a:xfrm>
              <a:custGeom>
                <a:avLst/>
                <a:gdLst>
                  <a:gd name="T0" fmla="*/ 42 w 42"/>
                  <a:gd name="T1" fmla="*/ 20 h 41"/>
                  <a:gd name="T2" fmla="*/ 42 w 42"/>
                  <a:gd name="T3" fmla="*/ 20 h 41"/>
                  <a:gd name="T4" fmla="*/ 40 w 42"/>
                  <a:gd name="T5" fmla="*/ 29 h 41"/>
                  <a:gd name="T6" fmla="*/ 37 w 42"/>
                  <a:gd name="T7" fmla="*/ 35 h 41"/>
                  <a:gd name="T8" fmla="*/ 29 w 42"/>
                  <a:gd name="T9" fmla="*/ 39 h 41"/>
                  <a:gd name="T10" fmla="*/ 21 w 42"/>
                  <a:gd name="T11" fmla="*/ 41 h 41"/>
                  <a:gd name="T12" fmla="*/ 21 w 42"/>
                  <a:gd name="T13" fmla="*/ 41 h 41"/>
                  <a:gd name="T14" fmla="*/ 13 w 42"/>
                  <a:gd name="T15" fmla="*/ 39 h 41"/>
                  <a:gd name="T16" fmla="*/ 6 w 42"/>
                  <a:gd name="T17" fmla="*/ 35 h 41"/>
                  <a:gd name="T18" fmla="*/ 2 w 42"/>
                  <a:gd name="T19" fmla="*/ 29 h 41"/>
                  <a:gd name="T20" fmla="*/ 0 w 42"/>
                  <a:gd name="T21" fmla="*/ 20 h 41"/>
                  <a:gd name="T22" fmla="*/ 0 w 42"/>
                  <a:gd name="T23" fmla="*/ 20 h 41"/>
                  <a:gd name="T24" fmla="*/ 2 w 42"/>
                  <a:gd name="T25" fmla="*/ 12 h 41"/>
                  <a:gd name="T26" fmla="*/ 6 w 42"/>
                  <a:gd name="T27" fmla="*/ 6 h 41"/>
                  <a:gd name="T28" fmla="*/ 13 w 42"/>
                  <a:gd name="T29" fmla="*/ 0 h 41"/>
                  <a:gd name="T30" fmla="*/ 21 w 42"/>
                  <a:gd name="T31" fmla="*/ 0 h 41"/>
                  <a:gd name="T32" fmla="*/ 21 w 42"/>
                  <a:gd name="T33" fmla="*/ 0 h 41"/>
                  <a:gd name="T34" fmla="*/ 29 w 42"/>
                  <a:gd name="T35" fmla="*/ 0 h 41"/>
                  <a:gd name="T36" fmla="*/ 37 w 42"/>
                  <a:gd name="T37" fmla="*/ 6 h 41"/>
                  <a:gd name="T38" fmla="*/ 40 w 42"/>
                  <a:gd name="T39" fmla="*/ 12 h 41"/>
                  <a:gd name="T40" fmla="*/ 42 w 42"/>
                  <a:gd name="T41" fmla="*/ 20 h 41"/>
                  <a:gd name="T42" fmla="*/ 42 w 42"/>
                  <a:gd name="T43" fmla="*/ 2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1">
                    <a:moveTo>
                      <a:pt x="42" y="20"/>
                    </a:moveTo>
                    <a:lnTo>
                      <a:pt x="42" y="20"/>
                    </a:lnTo>
                    <a:lnTo>
                      <a:pt x="40" y="29"/>
                    </a:lnTo>
                    <a:lnTo>
                      <a:pt x="37" y="35"/>
                    </a:lnTo>
                    <a:lnTo>
                      <a:pt x="29" y="39"/>
                    </a:lnTo>
                    <a:lnTo>
                      <a:pt x="21" y="41"/>
                    </a:lnTo>
                    <a:lnTo>
                      <a:pt x="21" y="41"/>
                    </a:lnTo>
                    <a:lnTo>
                      <a:pt x="13" y="39"/>
                    </a:lnTo>
                    <a:lnTo>
                      <a:pt x="6" y="35"/>
                    </a:lnTo>
                    <a:lnTo>
                      <a:pt x="2" y="29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2" y="12"/>
                    </a:lnTo>
                    <a:lnTo>
                      <a:pt x="6" y="6"/>
                    </a:lnTo>
                    <a:lnTo>
                      <a:pt x="13" y="0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29" y="0"/>
                    </a:lnTo>
                    <a:lnTo>
                      <a:pt x="37" y="6"/>
                    </a:lnTo>
                    <a:lnTo>
                      <a:pt x="40" y="12"/>
                    </a:lnTo>
                    <a:lnTo>
                      <a:pt x="42" y="20"/>
                    </a:lnTo>
                    <a:lnTo>
                      <a:pt x="42" y="20"/>
                    </a:lnTo>
                    <a:close/>
                  </a:path>
                </a:pathLst>
              </a:custGeom>
              <a:solidFill>
                <a:srgbClr val="0070C0"/>
              </a:solidFill>
              <a:ln>
                <a:noFill/>
              </a:ln>
            </p:spPr>
            <p:txBody>
              <a:bodyPr vert="horz" wrap="square" lIns="68564" tIns="34282" rIns="68564" bIns="34282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181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362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543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724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5905" algn="l" defTabSz="914362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086" algn="l" defTabSz="914362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266" algn="l" defTabSz="914362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448" algn="l" defTabSz="914362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IE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  <a:sym typeface="Arial"/>
                </a:endParaRPr>
              </a:p>
            </p:txBody>
          </p:sp>
          <p:sp>
            <p:nvSpPr>
              <p:cNvPr id="46" name="Freeform 112">
                <a:extLst>
                  <a:ext uri="{FF2B5EF4-FFF2-40B4-BE49-F238E27FC236}">
                    <a16:creationId xmlns:a16="http://schemas.microsoft.com/office/drawing/2014/main" id="{6496DBC6-347D-D952-0504-B99DB64691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27452" y="1656805"/>
                <a:ext cx="145352" cy="141892"/>
              </a:xfrm>
              <a:custGeom>
                <a:avLst/>
                <a:gdLst>
                  <a:gd name="T0" fmla="*/ 42 w 42"/>
                  <a:gd name="T1" fmla="*/ 22 h 41"/>
                  <a:gd name="T2" fmla="*/ 42 w 42"/>
                  <a:gd name="T3" fmla="*/ 22 h 41"/>
                  <a:gd name="T4" fmla="*/ 40 w 42"/>
                  <a:gd name="T5" fmla="*/ 29 h 41"/>
                  <a:gd name="T6" fmla="*/ 36 w 42"/>
                  <a:gd name="T7" fmla="*/ 35 h 41"/>
                  <a:gd name="T8" fmla="*/ 29 w 42"/>
                  <a:gd name="T9" fmla="*/ 41 h 41"/>
                  <a:gd name="T10" fmla="*/ 21 w 42"/>
                  <a:gd name="T11" fmla="*/ 41 h 41"/>
                  <a:gd name="T12" fmla="*/ 21 w 42"/>
                  <a:gd name="T13" fmla="*/ 41 h 41"/>
                  <a:gd name="T14" fmla="*/ 13 w 42"/>
                  <a:gd name="T15" fmla="*/ 41 h 41"/>
                  <a:gd name="T16" fmla="*/ 6 w 42"/>
                  <a:gd name="T17" fmla="*/ 35 h 41"/>
                  <a:gd name="T18" fmla="*/ 2 w 42"/>
                  <a:gd name="T19" fmla="*/ 29 h 41"/>
                  <a:gd name="T20" fmla="*/ 0 w 42"/>
                  <a:gd name="T21" fmla="*/ 22 h 41"/>
                  <a:gd name="T22" fmla="*/ 0 w 42"/>
                  <a:gd name="T23" fmla="*/ 22 h 41"/>
                  <a:gd name="T24" fmla="*/ 2 w 42"/>
                  <a:gd name="T25" fmla="*/ 12 h 41"/>
                  <a:gd name="T26" fmla="*/ 6 w 42"/>
                  <a:gd name="T27" fmla="*/ 6 h 41"/>
                  <a:gd name="T28" fmla="*/ 13 w 42"/>
                  <a:gd name="T29" fmla="*/ 2 h 41"/>
                  <a:gd name="T30" fmla="*/ 21 w 42"/>
                  <a:gd name="T31" fmla="*/ 0 h 41"/>
                  <a:gd name="T32" fmla="*/ 21 w 42"/>
                  <a:gd name="T33" fmla="*/ 0 h 41"/>
                  <a:gd name="T34" fmla="*/ 29 w 42"/>
                  <a:gd name="T35" fmla="*/ 2 h 41"/>
                  <a:gd name="T36" fmla="*/ 36 w 42"/>
                  <a:gd name="T37" fmla="*/ 6 h 41"/>
                  <a:gd name="T38" fmla="*/ 40 w 42"/>
                  <a:gd name="T39" fmla="*/ 12 h 41"/>
                  <a:gd name="T40" fmla="*/ 42 w 42"/>
                  <a:gd name="T41" fmla="*/ 22 h 41"/>
                  <a:gd name="T42" fmla="*/ 42 w 42"/>
                  <a:gd name="T43" fmla="*/ 22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1">
                    <a:moveTo>
                      <a:pt x="42" y="22"/>
                    </a:moveTo>
                    <a:lnTo>
                      <a:pt x="42" y="22"/>
                    </a:lnTo>
                    <a:lnTo>
                      <a:pt x="40" y="29"/>
                    </a:lnTo>
                    <a:lnTo>
                      <a:pt x="36" y="35"/>
                    </a:lnTo>
                    <a:lnTo>
                      <a:pt x="29" y="41"/>
                    </a:lnTo>
                    <a:lnTo>
                      <a:pt x="21" y="41"/>
                    </a:lnTo>
                    <a:lnTo>
                      <a:pt x="21" y="41"/>
                    </a:lnTo>
                    <a:lnTo>
                      <a:pt x="13" y="41"/>
                    </a:lnTo>
                    <a:lnTo>
                      <a:pt x="6" y="35"/>
                    </a:lnTo>
                    <a:lnTo>
                      <a:pt x="2" y="29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12"/>
                    </a:lnTo>
                    <a:lnTo>
                      <a:pt x="6" y="6"/>
                    </a:lnTo>
                    <a:lnTo>
                      <a:pt x="13" y="2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29" y="2"/>
                    </a:lnTo>
                    <a:lnTo>
                      <a:pt x="36" y="6"/>
                    </a:lnTo>
                    <a:lnTo>
                      <a:pt x="40" y="12"/>
                    </a:lnTo>
                    <a:lnTo>
                      <a:pt x="42" y="22"/>
                    </a:lnTo>
                    <a:lnTo>
                      <a:pt x="42" y="22"/>
                    </a:lnTo>
                    <a:close/>
                  </a:path>
                </a:pathLst>
              </a:custGeom>
              <a:solidFill>
                <a:srgbClr val="0070C0"/>
              </a:solidFill>
              <a:ln>
                <a:noFill/>
              </a:ln>
            </p:spPr>
            <p:txBody>
              <a:bodyPr vert="horz" wrap="square" lIns="68564" tIns="34282" rIns="68564" bIns="34282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181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362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543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724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5905" algn="l" defTabSz="914362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086" algn="l" defTabSz="914362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266" algn="l" defTabSz="914362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448" algn="l" defTabSz="914362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IE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  <a:sym typeface="Arial"/>
                </a:endParaRPr>
              </a:p>
            </p:txBody>
          </p:sp>
        </p:grpSp>
      </p:grpSp>
      <p:sp>
        <p:nvSpPr>
          <p:cNvPr id="47" name="Freeform 18">
            <a:extLst>
              <a:ext uri="{FF2B5EF4-FFF2-40B4-BE49-F238E27FC236}">
                <a16:creationId xmlns:a16="http://schemas.microsoft.com/office/drawing/2014/main" id="{95988354-F485-3436-E05F-AB5AE7BCEC1E}"/>
              </a:ext>
            </a:extLst>
          </p:cNvPr>
          <p:cNvSpPr>
            <a:spLocks noEditPoints="1"/>
          </p:cNvSpPr>
          <p:nvPr/>
        </p:nvSpPr>
        <p:spPr bwMode="auto">
          <a:xfrm>
            <a:off x="5776247" y="3794973"/>
            <a:ext cx="692761" cy="608216"/>
          </a:xfrm>
          <a:custGeom>
            <a:avLst/>
            <a:gdLst>
              <a:gd name="T0" fmla="*/ 482 w 528"/>
              <a:gd name="T1" fmla="*/ 263 h 464"/>
              <a:gd name="T2" fmla="*/ 469 w 528"/>
              <a:gd name="T3" fmla="*/ 247 h 464"/>
              <a:gd name="T4" fmla="*/ 488 w 528"/>
              <a:gd name="T5" fmla="*/ 107 h 464"/>
              <a:gd name="T6" fmla="*/ 528 w 528"/>
              <a:gd name="T7" fmla="*/ 54 h 464"/>
              <a:gd name="T8" fmla="*/ 490 w 528"/>
              <a:gd name="T9" fmla="*/ 5 h 464"/>
              <a:gd name="T10" fmla="*/ 445 w 528"/>
              <a:gd name="T11" fmla="*/ 90 h 464"/>
              <a:gd name="T12" fmla="*/ 452 w 528"/>
              <a:gd name="T13" fmla="*/ 101 h 464"/>
              <a:gd name="T14" fmla="*/ 423 w 528"/>
              <a:gd name="T15" fmla="*/ 239 h 464"/>
              <a:gd name="T16" fmla="*/ 412 w 528"/>
              <a:gd name="T17" fmla="*/ 243 h 464"/>
              <a:gd name="T18" fmla="*/ 407 w 528"/>
              <a:gd name="T19" fmla="*/ 244 h 464"/>
              <a:gd name="T20" fmla="*/ 321 w 528"/>
              <a:gd name="T21" fmla="*/ 190 h 464"/>
              <a:gd name="T22" fmla="*/ 314 w 528"/>
              <a:gd name="T23" fmla="*/ 160 h 464"/>
              <a:gd name="T24" fmla="*/ 255 w 528"/>
              <a:gd name="T25" fmla="*/ 130 h 464"/>
              <a:gd name="T26" fmla="*/ 213 w 528"/>
              <a:gd name="T27" fmla="*/ 182 h 464"/>
              <a:gd name="T28" fmla="*/ 85 w 528"/>
              <a:gd name="T29" fmla="*/ 235 h 464"/>
              <a:gd name="T30" fmla="*/ 63 w 528"/>
              <a:gd name="T31" fmla="*/ 225 h 464"/>
              <a:gd name="T32" fmla="*/ 2 w 528"/>
              <a:gd name="T33" fmla="*/ 265 h 464"/>
              <a:gd name="T34" fmla="*/ 39 w 528"/>
              <a:gd name="T35" fmla="*/ 320 h 464"/>
              <a:gd name="T36" fmla="*/ 71 w 528"/>
              <a:gd name="T37" fmla="*/ 319 h 464"/>
              <a:gd name="T38" fmla="*/ 147 w 528"/>
              <a:gd name="T39" fmla="*/ 390 h 464"/>
              <a:gd name="T40" fmla="*/ 149 w 528"/>
              <a:gd name="T41" fmla="*/ 398 h 464"/>
              <a:gd name="T42" fmla="*/ 165 w 528"/>
              <a:gd name="T43" fmla="*/ 451 h 464"/>
              <a:gd name="T44" fmla="*/ 225 w 528"/>
              <a:gd name="T45" fmla="*/ 453 h 464"/>
              <a:gd name="T46" fmla="*/ 208 w 528"/>
              <a:gd name="T47" fmla="*/ 365 h 464"/>
              <a:gd name="T48" fmla="*/ 181 w 528"/>
              <a:gd name="T49" fmla="*/ 366 h 464"/>
              <a:gd name="T50" fmla="*/ 172 w 528"/>
              <a:gd name="T51" fmla="*/ 364 h 464"/>
              <a:gd name="T52" fmla="*/ 99 w 528"/>
              <a:gd name="T53" fmla="*/ 288 h 464"/>
              <a:gd name="T54" fmla="*/ 99 w 528"/>
              <a:gd name="T55" fmla="*/ 286 h 464"/>
              <a:gd name="T56" fmla="*/ 106 w 528"/>
              <a:gd name="T57" fmla="*/ 269 h 464"/>
              <a:gd name="T58" fmla="*/ 232 w 528"/>
              <a:gd name="T59" fmla="*/ 215 h 464"/>
              <a:gd name="T60" fmla="*/ 240 w 528"/>
              <a:gd name="T61" fmla="*/ 220 h 464"/>
              <a:gd name="T62" fmla="*/ 259 w 528"/>
              <a:gd name="T63" fmla="*/ 227 h 464"/>
              <a:gd name="T64" fmla="*/ 293 w 528"/>
              <a:gd name="T65" fmla="*/ 221 h 464"/>
              <a:gd name="T66" fmla="*/ 299 w 528"/>
              <a:gd name="T67" fmla="*/ 220 h 464"/>
              <a:gd name="T68" fmla="*/ 385 w 528"/>
              <a:gd name="T69" fmla="*/ 274 h 464"/>
              <a:gd name="T70" fmla="*/ 401 w 528"/>
              <a:gd name="T71" fmla="*/ 319 h 464"/>
              <a:gd name="T72" fmla="*/ 427 w 528"/>
              <a:gd name="T73" fmla="*/ 334 h 464"/>
              <a:gd name="T74" fmla="*/ 481 w 528"/>
              <a:gd name="T75" fmla="*/ 310 h 464"/>
              <a:gd name="T76" fmla="*/ 46 w 528"/>
              <a:gd name="T77" fmla="*/ 294 h 464"/>
              <a:gd name="T78" fmla="*/ 56 w 528"/>
              <a:gd name="T79" fmla="*/ 250 h 464"/>
              <a:gd name="T80" fmla="*/ 46 w 528"/>
              <a:gd name="T81" fmla="*/ 294 h 464"/>
              <a:gd name="T82" fmla="*/ 218 w 528"/>
              <a:gd name="T83" fmla="*/ 418 h 464"/>
              <a:gd name="T84" fmla="*/ 175 w 528"/>
              <a:gd name="T85" fmla="*/ 407 h 464"/>
              <a:gd name="T86" fmla="*/ 263 w 528"/>
              <a:gd name="T87" fmla="*/ 200 h 464"/>
              <a:gd name="T88" fmla="*/ 274 w 528"/>
              <a:gd name="T89" fmla="*/ 156 h 464"/>
              <a:gd name="T90" fmla="*/ 263 w 528"/>
              <a:gd name="T91" fmla="*/ 200 h 464"/>
              <a:gd name="T92" fmla="*/ 484 w 528"/>
              <a:gd name="T93" fmla="*/ 32 h 464"/>
              <a:gd name="T94" fmla="*/ 473 w 528"/>
              <a:gd name="T95" fmla="*/ 76 h 464"/>
              <a:gd name="T96" fmla="*/ 433 w 528"/>
              <a:gd name="T97" fmla="*/ 308 h 464"/>
              <a:gd name="T98" fmla="*/ 443 w 528"/>
              <a:gd name="T99" fmla="*/ 264 h 464"/>
              <a:gd name="T100" fmla="*/ 433 w 528"/>
              <a:gd name="T101" fmla="*/ 308 h 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28" h="464">
                <a:moveTo>
                  <a:pt x="487" y="275"/>
                </a:moveTo>
                <a:cubicBezTo>
                  <a:pt x="485" y="271"/>
                  <a:pt x="485" y="270"/>
                  <a:pt x="482" y="263"/>
                </a:cubicBezTo>
                <a:cubicBezTo>
                  <a:pt x="482" y="262"/>
                  <a:pt x="482" y="262"/>
                  <a:pt x="481" y="261"/>
                </a:cubicBezTo>
                <a:cubicBezTo>
                  <a:pt x="476" y="253"/>
                  <a:pt x="469" y="247"/>
                  <a:pt x="469" y="247"/>
                </a:cubicBezTo>
                <a:cubicBezTo>
                  <a:pt x="466" y="245"/>
                  <a:pt x="465" y="241"/>
                  <a:pt x="465" y="238"/>
                </a:cubicBezTo>
                <a:cubicBezTo>
                  <a:pt x="488" y="107"/>
                  <a:pt x="488" y="107"/>
                  <a:pt x="488" y="107"/>
                </a:cubicBezTo>
                <a:cubicBezTo>
                  <a:pt x="488" y="105"/>
                  <a:pt x="491" y="101"/>
                  <a:pt x="494" y="101"/>
                </a:cubicBezTo>
                <a:cubicBezTo>
                  <a:pt x="514" y="95"/>
                  <a:pt x="528" y="75"/>
                  <a:pt x="528" y="54"/>
                </a:cubicBezTo>
                <a:cubicBezTo>
                  <a:pt x="528" y="31"/>
                  <a:pt x="512" y="11"/>
                  <a:pt x="490" y="5"/>
                </a:cubicBezTo>
                <a:cubicBezTo>
                  <a:pt x="490" y="5"/>
                  <a:pt x="490" y="5"/>
                  <a:pt x="490" y="5"/>
                </a:cubicBezTo>
                <a:cubicBezTo>
                  <a:pt x="468" y="0"/>
                  <a:pt x="445" y="11"/>
                  <a:pt x="434" y="31"/>
                </a:cubicBezTo>
                <a:cubicBezTo>
                  <a:pt x="424" y="51"/>
                  <a:pt x="429" y="75"/>
                  <a:pt x="445" y="90"/>
                </a:cubicBezTo>
                <a:cubicBezTo>
                  <a:pt x="446" y="91"/>
                  <a:pt x="447" y="92"/>
                  <a:pt x="448" y="92"/>
                </a:cubicBezTo>
                <a:cubicBezTo>
                  <a:pt x="450" y="94"/>
                  <a:pt x="452" y="98"/>
                  <a:pt x="452" y="101"/>
                </a:cubicBezTo>
                <a:cubicBezTo>
                  <a:pt x="429" y="232"/>
                  <a:pt x="429" y="232"/>
                  <a:pt x="429" y="232"/>
                </a:cubicBezTo>
                <a:cubicBezTo>
                  <a:pt x="428" y="235"/>
                  <a:pt x="425" y="238"/>
                  <a:pt x="423" y="239"/>
                </a:cubicBezTo>
                <a:cubicBezTo>
                  <a:pt x="419" y="240"/>
                  <a:pt x="417" y="241"/>
                  <a:pt x="414" y="242"/>
                </a:cubicBezTo>
                <a:cubicBezTo>
                  <a:pt x="412" y="243"/>
                  <a:pt x="412" y="243"/>
                  <a:pt x="412" y="243"/>
                </a:cubicBezTo>
                <a:cubicBezTo>
                  <a:pt x="412" y="243"/>
                  <a:pt x="412" y="243"/>
                  <a:pt x="412" y="243"/>
                </a:cubicBezTo>
                <a:cubicBezTo>
                  <a:pt x="411" y="244"/>
                  <a:pt x="409" y="244"/>
                  <a:pt x="407" y="244"/>
                </a:cubicBezTo>
                <a:cubicBezTo>
                  <a:pt x="406" y="244"/>
                  <a:pt x="405" y="243"/>
                  <a:pt x="404" y="243"/>
                </a:cubicBezTo>
                <a:cubicBezTo>
                  <a:pt x="321" y="190"/>
                  <a:pt x="321" y="190"/>
                  <a:pt x="321" y="190"/>
                </a:cubicBezTo>
                <a:cubicBezTo>
                  <a:pt x="319" y="189"/>
                  <a:pt x="317" y="186"/>
                  <a:pt x="317" y="184"/>
                </a:cubicBezTo>
                <a:cubicBezTo>
                  <a:pt x="318" y="176"/>
                  <a:pt x="317" y="168"/>
                  <a:pt x="314" y="160"/>
                </a:cubicBezTo>
                <a:cubicBezTo>
                  <a:pt x="309" y="146"/>
                  <a:pt x="295" y="134"/>
                  <a:pt x="279" y="130"/>
                </a:cubicBezTo>
                <a:cubicBezTo>
                  <a:pt x="271" y="128"/>
                  <a:pt x="262" y="128"/>
                  <a:pt x="255" y="130"/>
                </a:cubicBezTo>
                <a:cubicBezTo>
                  <a:pt x="234" y="136"/>
                  <a:pt x="219" y="154"/>
                  <a:pt x="218" y="174"/>
                </a:cubicBezTo>
                <a:cubicBezTo>
                  <a:pt x="218" y="177"/>
                  <a:pt x="216" y="181"/>
                  <a:pt x="213" y="182"/>
                </a:cubicBezTo>
                <a:cubicBezTo>
                  <a:pt x="91" y="235"/>
                  <a:pt x="91" y="235"/>
                  <a:pt x="91" y="235"/>
                </a:cubicBezTo>
                <a:cubicBezTo>
                  <a:pt x="90" y="236"/>
                  <a:pt x="87" y="236"/>
                  <a:pt x="85" y="235"/>
                </a:cubicBezTo>
                <a:cubicBezTo>
                  <a:pt x="84" y="235"/>
                  <a:pt x="83" y="234"/>
                  <a:pt x="82" y="234"/>
                </a:cubicBezTo>
                <a:cubicBezTo>
                  <a:pt x="76" y="229"/>
                  <a:pt x="70" y="226"/>
                  <a:pt x="63" y="225"/>
                </a:cubicBezTo>
                <a:cubicBezTo>
                  <a:pt x="50" y="221"/>
                  <a:pt x="35" y="224"/>
                  <a:pt x="23" y="232"/>
                </a:cubicBezTo>
                <a:cubicBezTo>
                  <a:pt x="12" y="239"/>
                  <a:pt x="4" y="251"/>
                  <a:pt x="2" y="265"/>
                </a:cubicBezTo>
                <a:cubicBezTo>
                  <a:pt x="0" y="282"/>
                  <a:pt x="6" y="300"/>
                  <a:pt x="20" y="311"/>
                </a:cubicBezTo>
                <a:cubicBezTo>
                  <a:pt x="26" y="316"/>
                  <a:pt x="32" y="319"/>
                  <a:pt x="39" y="320"/>
                </a:cubicBezTo>
                <a:cubicBezTo>
                  <a:pt x="47" y="322"/>
                  <a:pt x="57" y="322"/>
                  <a:pt x="66" y="319"/>
                </a:cubicBezTo>
                <a:cubicBezTo>
                  <a:pt x="68" y="319"/>
                  <a:pt x="69" y="319"/>
                  <a:pt x="71" y="319"/>
                </a:cubicBezTo>
                <a:cubicBezTo>
                  <a:pt x="73" y="320"/>
                  <a:pt x="75" y="320"/>
                  <a:pt x="76" y="321"/>
                </a:cubicBezTo>
                <a:cubicBezTo>
                  <a:pt x="147" y="390"/>
                  <a:pt x="147" y="390"/>
                  <a:pt x="147" y="390"/>
                </a:cubicBezTo>
                <a:cubicBezTo>
                  <a:pt x="149" y="392"/>
                  <a:pt x="150" y="396"/>
                  <a:pt x="149" y="398"/>
                </a:cubicBezTo>
                <a:cubicBezTo>
                  <a:pt x="149" y="398"/>
                  <a:pt x="149" y="398"/>
                  <a:pt x="149" y="398"/>
                </a:cubicBezTo>
                <a:cubicBezTo>
                  <a:pt x="149" y="398"/>
                  <a:pt x="149" y="398"/>
                  <a:pt x="149" y="398"/>
                </a:cubicBezTo>
                <a:cubicBezTo>
                  <a:pt x="144" y="419"/>
                  <a:pt x="150" y="439"/>
                  <a:pt x="165" y="451"/>
                </a:cubicBezTo>
                <a:cubicBezTo>
                  <a:pt x="171" y="456"/>
                  <a:pt x="177" y="459"/>
                  <a:pt x="184" y="461"/>
                </a:cubicBezTo>
                <a:cubicBezTo>
                  <a:pt x="199" y="464"/>
                  <a:pt x="213" y="461"/>
                  <a:pt x="225" y="453"/>
                </a:cubicBezTo>
                <a:cubicBezTo>
                  <a:pt x="243" y="440"/>
                  <a:pt x="250" y="417"/>
                  <a:pt x="243" y="396"/>
                </a:cubicBezTo>
                <a:cubicBezTo>
                  <a:pt x="238" y="381"/>
                  <a:pt x="224" y="369"/>
                  <a:pt x="208" y="365"/>
                </a:cubicBezTo>
                <a:cubicBezTo>
                  <a:pt x="203" y="363"/>
                  <a:pt x="197" y="363"/>
                  <a:pt x="191" y="364"/>
                </a:cubicBezTo>
                <a:cubicBezTo>
                  <a:pt x="188" y="364"/>
                  <a:pt x="185" y="365"/>
                  <a:pt x="181" y="366"/>
                </a:cubicBezTo>
                <a:cubicBezTo>
                  <a:pt x="180" y="366"/>
                  <a:pt x="178" y="366"/>
                  <a:pt x="177" y="366"/>
                </a:cubicBezTo>
                <a:cubicBezTo>
                  <a:pt x="175" y="365"/>
                  <a:pt x="173" y="365"/>
                  <a:pt x="172" y="364"/>
                </a:cubicBezTo>
                <a:cubicBezTo>
                  <a:pt x="101" y="295"/>
                  <a:pt x="101" y="295"/>
                  <a:pt x="101" y="295"/>
                </a:cubicBezTo>
                <a:cubicBezTo>
                  <a:pt x="99" y="293"/>
                  <a:pt x="98" y="289"/>
                  <a:pt x="99" y="288"/>
                </a:cubicBezTo>
                <a:cubicBezTo>
                  <a:pt x="99" y="287"/>
                  <a:pt x="99" y="287"/>
                  <a:pt x="99" y="287"/>
                </a:cubicBezTo>
                <a:cubicBezTo>
                  <a:pt x="99" y="286"/>
                  <a:pt x="99" y="286"/>
                  <a:pt x="99" y="286"/>
                </a:cubicBezTo>
                <a:cubicBezTo>
                  <a:pt x="100" y="283"/>
                  <a:pt x="101" y="280"/>
                  <a:pt x="101" y="276"/>
                </a:cubicBezTo>
                <a:cubicBezTo>
                  <a:pt x="101" y="273"/>
                  <a:pt x="103" y="270"/>
                  <a:pt x="106" y="269"/>
                </a:cubicBezTo>
                <a:cubicBezTo>
                  <a:pt x="228" y="216"/>
                  <a:pt x="228" y="216"/>
                  <a:pt x="228" y="216"/>
                </a:cubicBezTo>
                <a:cubicBezTo>
                  <a:pt x="229" y="215"/>
                  <a:pt x="231" y="215"/>
                  <a:pt x="232" y="215"/>
                </a:cubicBezTo>
                <a:cubicBezTo>
                  <a:pt x="234" y="216"/>
                  <a:pt x="236" y="217"/>
                  <a:pt x="238" y="219"/>
                </a:cubicBezTo>
                <a:cubicBezTo>
                  <a:pt x="239" y="219"/>
                  <a:pt x="240" y="219"/>
                  <a:pt x="240" y="220"/>
                </a:cubicBezTo>
                <a:cubicBezTo>
                  <a:pt x="245" y="223"/>
                  <a:pt x="251" y="225"/>
                  <a:pt x="256" y="227"/>
                </a:cubicBezTo>
                <a:cubicBezTo>
                  <a:pt x="257" y="227"/>
                  <a:pt x="258" y="227"/>
                  <a:pt x="259" y="227"/>
                </a:cubicBezTo>
                <a:cubicBezTo>
                  <a:pt x="270" y="229"/>
                  <a:pt x="281" y="227"/>
                  <a:pt x="293" y="221"/>
                </a:cubicBezTo>
                <a:cubicBezTo>
                  <a:pt x="293" y="221"/>
                  <a:pt x="293" y="221"/>
                  <a:pt x="293" y="221"/>
                </a:cubicBezTo>
                <a:cubicBezTo>
                  <a:pt x="294" y="221"/>
                  <a:pt x="294" y="221"/>
                  <a:pt x="294" y="221"/>
                </a:cubicBezTo>
                <a:cubicBezTo>
                  <a:pt x="295" y="220"/>
                  <a:pt x="297" y="220"/>
                  <a:pt x="299" y="220"/>
                </a:cubicBezTo>
                <a:cubicBezTo>
                  <a:pt x="300" y="221"/>
                  <a:pt x="301" y="221"/>
                  <a:pt x="301" y="221"/>
                </a:cubicBezTo>
                <a:cubicBezTo>
                  <a:pt x="385" y="274"/>
                  <a:pt x="385" y="274"/>
                  <a:pt x="385" y="274"/>
                </a:cubicBezTo>
                <a:cubicBezTo>
                  <a:pt x="387" y="276"/>
                  <a:pt x="389" y="280"/>
                  <a:pt x="389" y="283"/>
                </a:cubicBezTo>
                <a:cubicBezTo>
                  <a:pt x="389" y="297"/>
                  <a:pt x="393" y="309"/>
                  <a:pt x="401" y="319"/>
                </a:cubicBezTo>
                <a:cubicBezTo>
                  <a:pt x="408" y="326"/>
                  <a:pt x="417" y="332"/>
                  <a:pt x="427" y="334"/>
                </a:cubicBezTo>
                <a:cubicBezTo>
                  <a:pt x="427" y="334"/>
                  <a:pt x="427" y="334"/>
                  <a:pt x="427" y="334"/>
                </a:cubicBezTo>
                <a:cubicBezTo>
                  <a:pt x="432" y="335"/>
                  <a:pt x="437" y="336"/>
                  <a:pt x="443" y="335"/>
                </a:cubicBezTo>
                <a:cubicBezTo>
                  <a:pt x="459" y="334"/>
                  <a:pt x="473" y="324"/>
                  <a:pt x="481" y="310"/>
                </a:cubicBezTo>
                <a:cubicBezTo>
                  <a:pt x="487" y="299"/>
                  <a:pt x="489" y="287"/>
                  <a:pt x="487" y="275"/>
                </a:cubicBezTo>
                <a:close/>
                <a:moveTo>
                  <a:pt x="46" y="294"/>
                </a:moveTo>
                <a:cubicBezTo>
                  <a:pt x="34" y="291"/>
                  <a:pt x="26" y="279"/>
                  <a:pt x="29" y="267"/>
                </a:cubicBezTo>
                <a:cubicBezTo>
                  <a:pt x="32" y="255"/>
                  <a:pt x="44" y="247"/>
                  <a:pt x="56" y="250"/>
                </a:cubicBezTo>
                <a:cubicBezTo>
                  <a:pt x="69" y="253"/>
                  <a:pt x="76" y="265"/>
                  <a:pt x="73" y="277"/>
                </a:cubicBezTo>
                <a:cubicBezTo>
                  <a:pt x="70" y="290"/>
                  <a:pt x="58" y="297"/>
                  <a:pt x="46" y="294"/>
                </a:cubicBezTo>
                <a:close/>
                <a:moveTo>
                  <a:pt x="202" y="391"/>
                </a:moveTo>
                <a:cubicBezTo>
                  <a:pt x="214" y="394"/>
                  <a:pt x="221" y="406"/>
                  <a:pt x="218" y="418"/>
                </a:cubicBezTo>
                <a:cubicBezTo>
                  <a:pt x="216" y="430"/>
                  <a:pt x="203" y="438"/>
                  <a:pt x="191" y="435"/>
                </a:cubicBezTo>
                <a:cubicBezTo>
                  <a:pt x="179" y="432"/>
                  <a:pt x="172" y="420"/>
                  <a:pt x="175" y="407"/>
                </a:cubicBezTo>
                <a:cubicBezTo>
                  <a:pt x="177" y="395"/>
                  <a:pt x="190" y="388"/>
                  <a:pt x="202" y="391"/>
                </a:cubicBezTo>
                <a:close/>
                <a:moveTo>
                  <a:pt x="263" y="200"/>
                </a:moveTo>
                <a:cubicBezTo>
                  <a:pt x="251" y="197"/>
                  <a:pt x="243" y="185"/>
                  <a:pt x="246" y="173"/>
                </a:cubicBezTo>
                <a:cubicBezTo>
                  <a:pt x="249" y="161"/>
                  <a:pt x="261" y="153"/>
                  <a:pt x="274" y="156"/>
                </a:cubicBezTo>
                <a:cubicBezTo>
                  <a:pt x="286" y="159"/>
                  <a:pt x="293" y="171"/>
                  <a:pt x="290" y="184"/>
                </a:cubicBezTo>
                <a:cubicBezTo>
                  <a:pt x="287" y="196"/>
                  <a:pt x="275" y="203"/>
                  <a:pt x="263" y="200"/>
                </a:cubicBezTo>
                <a:close/>
                <a:moveTo>
                  <a:pt x="457" y="48"/>
                </a:moveTo>
                <a:cubicBezTo>
                  <a:pt x="460" y="36"/>
                  <a:pt x="472" y="29"/>
                  <a:pt x="484" y="32"/>
                </a:cubicBezTo>
                <a:cubicBezTo>
                  <a:pt x="496" y="35"/>
                  <a:pt x="504" y="47"/>
                  <a:pt x="501" y="59"/>
                </a:cubicBezTo>
                <a:cubicBezTo>
                  <a:pt x="498" y="71"/>
                  <a:pt x="486" y="78"/>
                  <a:pt x="473" y="76"/>
                </a:cubicBezTo>
                <a:cubicBezTo>
                  <a:pt x="461" y="73"/>
                  <a:pt x="454" y="61"/>
                  <a:pt x="457" y="48"/>
                </a:cubicBezTo>
                <a:close/>
                <a:moveTo>
                  <a:pt x="433" y="308"/>
                </a:moveTo>
                <a:cubicBezTo>
                  <a:pt x="421" y="305"/>
                  <a:pt x="413" y="293"/>
                  <a:pt x="416" y="281"/>
                </a:cubicBezTo>
                <a:cubicBezTo>
                  <a:pt x="419" y="269"/>
                  <a:pt x="431" y="261"/>
                  <a:pt x="443" y="264"/>
                </a:cubicBezTo>
                <a:cubicBezTo>
                  <a:pt x="456" y="267"/>
                  <a:pt x="463" y="279"/>
                  <a:pt x="460" y="291"/>
                </a:cubicBezTo>
                <a:cubicBezTo>
                  <a:pt x="457" y="303"/>
                  <a:pt x="445" y="311"/>
                  <a:pt x="433" y="308"/>
                </a:cubicBezTo>
                <a:close/>
              </a:path>
            </a:pathLst>
          </a:custGeom>
          <a:solidFill>
            <a:srgbClr val="0070C0"/>
          </a:solidFill>
          <a:ln>
            <a:noFill/>
          </a:ln>
        </p:spPr>
        <p:txBody>
          <a:bodyPr vert="horz" wrap="square" lIns="68564" tIns="34282" rIns="68564" bIns="34282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18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362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54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72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905" algn="l" defTabSz="91436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086" algn="l" defTabSz="91436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266" algn="l" defTabSz="91436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448" algn="l" defTabSz="91436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IE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  <a:sym typeface="Arial"/>
            </a:endParaRP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13FFD069-8B5E-E01D-8518-91824664B64A}"/>
              </a:ext>
            </a:extLst>
          </p:cNvPr>
          <p:cNvGrpSpPr/>
          <p:nvPr/>
        </p:nvGrpSpPr>
        <p:grpSpPr>
          <a:xfrm>
            <a:off x="3047889" y="3890800"/>
            <a:ext cx="630920" cy="426809"/>
            <a:chOff x="1457385" y="3475225"/>
            <a:chExt cx="841422" cy="569210"/>
          </a:xfrm>
        </p:grpSpPr>
        <p:sp>
          <p:nvSpPr>
            <p:cNvPr id="49" name="Freeform 60">
              <a:extLst>
                <a:ext uri="{FF2B5EF4-FFF2-40B4-BE49-F238E27FC236}">
                  <a16:creationId xmlns:a16="http://schemas.microsoft.com/office/drawing/2014/main" id="{003FB6B3-A6F8-2473-EF24-141FE569A13A}"/>
                </a:ext>
              </a:extLst>
            </p:cNvPr>
            <p:cNvSpPr>
              <a:spLocks/>
            </p:cNvSpPr>
            <p:nvPr/>
          </p:nvSpPr>
          <p:spPr bwMode="auto">
            <a:xfrm rot="20924834">
              <a:off x="1800438" y="3475225"/>
              <a:ext cx="498369" cy="569209"/>
            </a:xfrm>
            <a:custGeom>
              <a:avLst/>
              <a:gdLst>
                <a:gd name="T0" fmla="*/ 863 w 1105"/>
                <a:gd name="T1" fmla="*/ 429 h 1597"/>
                <a:gd name="T2" fmla="*/ 1005 w 1105"/>
                <a:gd name="T3" fmla="*/ 569 h 1597"/>
                <a:gd name="T4" fmla="*/ 1072 w 1105"/>
                <a:gd name="T5" fmla="*/ 587 h 1597"/>
                <a:gd name="T6" fmla="*/ 1105 w 1105"/>
                <a:gd name="T7" fmla="*/ 529 h 1597"/>
                <a:gd name="T8" fmla="*/ 1104 w 1105"/>
                <a:gd name="T9" fmla="*/ 62 h 1597"/>
                <a:gd name="T10" fmla="*/ 1044 w 1105"/>
                <a:gd name="T11" fmla="*/ 0 h 1597"/>
                <a:gd name="T12" fmla="*/ 569 w 1105"/>
                <a:gd name="T13" fmla="*/ 0 h 1597"/>
                <a:gd name="T14" fmla="*/ 517 w 1105"/>
                <a:gd name="T15" fmla="*/ 34 h 1597"/>
                <a:gd name="T16" fmla="*/ 531 w 1105"/>
                <a:gd name="T17" fmla="*/ 94 h 1597"/>
                <a:gd name="T18" fmla="*/ 593 w 1105"/>
                <a:gd name="T19" fmla="*/ 156 h 1597"/>
                <a:gd name="T20" fmla="*/ 675 w 1105"/>
                <a:gd name="T21" fmla="*/ 233 h 1597"/>
                <a:gd name="T22" fmla="*/ 511 w 1105"/>
                <a:gd name="T23" fmla="*/ 411 h 1597"/>
                <a:gd name="T24" fmla="*/ 15 w 1105"/>
                <a:gd name="T25" fmla="*/ 1421 h 1597"/>
                <a:gd name="T26" fmla="*/ 0 w 1105"/>
                <a:gd name="T27" fmla="*/ 1594 h 1597"/>
                <a:gd name="T28" fmla="*/ 8 w 1105"/>
                <a:gd name="T29" fmla="*/ 1597 h 1597"/>
                <a:gd name="T30" fmla="*/ 863 w 1105"/>
                <a:gd name="T31" fmla="*/ 429 h 15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05" h="1597">
                  <a:moveTo>
                    <a:pt x="863" y="429"/>
                  </a:moveTo>
                  <a:cubicBezTo>
                    <a:pt x="910" y="476"/>
                    <a:pt x="958" y="523"/>
                    <a:pt x="1005" y="569"/>
                  </a:cubicBezTo>
                  <a:cubicBezTo>
                    <a:pt x="1024" y="588"/>
                    <a:pt x="1045" y="599"/>
                    <a:pt x="1072" y="587"/>
                  </a:cubicBezTo>
                  <a:cubicBezTo>
                    <a:pt x="1097" y="576"/>
                    <a:pt x="1105" y="555"/>
                    <a:pt x="1105" y="529"/>
                  </a:cubicBezTo>
                  <a:cubicBezTo>
                    <a:pt x="1104" y="374"/>
                    <a:pt x="1105" y="218"/>
                    <a:pt x="1104" y="62"/>
                  </a:cubicBezTo>
                  <a:cubicBezTo>
                    <a:pt x="1104" y="23"/>
                    <a:pt x="1083" y="0"/>
                    <a:pt x="1044" y="0"/>
                  </a:cubicBezTo>
                  <a:cubicBezTo>
                    <a:pt x="886" y="0"/>
                    <a:pt x="728" y="0"/>
                    <a:pt x="569" y="0"/>
                  </a:cubicBezTo>
                  <a:cubicBezTo>
                    <a:pt x="545" y="0"/>
                    <a:pt x="527" y="11"/>
                    <a:pt x="517" y="34"/>
                  </a:cubicBezTo>
                  <a:cubicBezTo>
                    <a:pt x="506" y="57"/>
                    <a:pt x="515" y="77"/>
                    <a:pt x="531" y="94"/>
                  </a:cubicBezTo>
                  <a:cubicBezTo>
                    <a:pt x="552" y="115"/>
                    <a:pt x="572" y="135"/>
                    <a:pt x="593" y="156"/>
                  </a:cubicBezTo>
                  <a:cubicBezTo>
                    <a:pt x="620" y="182"/>
                    <a:pt x="648" y="207"/>
                    <a:pt x="675" y="233"/>
                  </a:cubicBezTo>
                  <a:cubicBezTo>
                    <a:pt x="617" y="296"/>
                    <a:pt x="562" y="352"/>
                    <a:pt x="511" y="411"/>
                  </a:cubicBezTo>
                  <a:cubicBezTo>
                    <a:pt x="254" y="703"/>
                    <a:pt x="65" y="1028"/>
                    <a:pt x="15" y="1421"/>
                  </a:cubicBezTo>
                  <a:cubicBezTo>
                    <a:pt x="8" y="1479"/>
                    <a:pt x="5" y="1536"/>
                    <a:pt x="0" y="1594"/>
                  </a:cubicBezTo>
                  <a:cubicBezTo>
                    <a:pt x="3" y="1595"/>
                    <a:pt x="5" y="1596"/>
                    <a:pt x="8" y="1597"/>
                  </a:cubicBezTo>
                  <a:cubicBezTo>
                    <a:pt x="214" y="1150"/>
                    <a:pt x="500" y="760"/>
                    <a:pt x="863" y="429"/>
                  </a:cubicBez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</p:spPr>
          <p:txBody>
            <a:bodyPr vert="horz" wrap="square" lIns="68564" tIns="34282" rIns="68564" bIns="34282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18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362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54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724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5905" algn="l" defTabSz="914362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086" algn="l" defTabSz="914362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266" algn="l" defTabSz="914362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448" algn="l" defTabSz="914362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IE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  <a:sym typeface="Arial"/>
              </a:endParaRPr>
            </a:p>
          </p:txBody>
        </p:sp>
        <p:sp>
          <p:nvSpPr>
            <p:cNvPr id="50" name="Freeform 60">
              <a:extLst>
                <a:ext uri="{FF2B5EF4-FFF2-40B4-BE49-F238E27FC236}">
                  <a16:creationId xmlns:a16="http://schemas.microsoft.com/office/drawing/2014/main" id="{D380CA0E-C9A0-D12F-76B8-540D32293881}"/>
                </a:ext>
              </a:extLst>
            </p:cNvPr>
            <p:cNvSpPr>
              <a:spLocks/>
            </p:cNvSpPr>
            <p:nvPr/>
          </p:nvSpPr>
          <p:spPr bwMode="auto">
            <a:xfrm rot="974161" flipH="1">
              <a:off x="1457385" y="3475226"/>
              <a:ext cx="498369" cy="569209"/>
            </a:xfrm>
            <a:custGeom>
              <a:avLst/>
              <a:gdLst>
                <a:gd name="T0" fmla="*/ 863 w 1105"/>
                <a:gd name="T1" fmla="*/ 429 h 1597"/>
                <a:gd name="T2" fmla="*/ 1005 w 1105"/>
                <a:gd name="T3" fmla="*/ 569 h 1597"/>
                <a:gd name="T4" fmla="*/ 1072 w 1105"/>
                <a:gd name="T5" fmla="*/ 587 h 1597"/>
                <a:gd name="T6" fmla="*/ 1105 w 1105"/>
                <a:gd name="T7" fmla="*/ 529 h 1597"/>
                <a:gd name="T8" fmla="*/ 1104 w 1105"/>
                <a:gd name="T9" fmla="*/ 62 h 1597"/>
                <a:gd name="T10" fmla="*/ 1044 w 1105"/>
                <a:gd name="T11" fmla="*/ 0 h 1597"/>
                <a:gd name="T12" fmla="*/ 569 w 1105"/>
                <a:gd name="T13" fmla="*/ 0 h 1597"/>
                <a:gd name="T14" fmla="*/ 517 w 1105"/>
                <a:gd name="T15" fmla="*/ 34 h 1597"/>
                <a:gd name="T16" fmla="*/ 531 w 1105"/>
                <a:gd name="T17" fmla="*/ 94 h 1597"/>
                <a:gd name="T18" fmla="*/ 593 w 1105"/>
                <a:gd name="T19" fmla="*/ 156 h 1597"/>
                <a:gd name="T20" fmla="*/ 675 w 1105"/>
                <a:gd name="T21" fmla="*/ 233 h 1597"/>
                <a:gd name="T22" fmla="*/ 511 w 1105"/>
                <a:gd name="T23" fmla="*/ 411 h 1597"/>
                <a:gd name="T24" fmla="*/ 15 w 1105"/>
                <a:gd name="T25" fmla="*/ 1421 h 1597"/>
                <a:gd name="T26" fmla="*/ 0 w 1105"/>
                <a:gd name="T27" fmla="*/ 1594 h 1597"/>
                <a:gd name="T28" fmla="*/ 8 w 1105"/>
                <a:gd name="T29" fmla="*/ 1597 h 1597"/>
                <a:gd name="T30" fmla="*/ 863 w 1105"/>
                <a:gd name="T31" fmla="*/ 429 h 15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05" h="1597">
                  <a:moveTo>
                    <a:pt x="863" y="429"/>
                  </a:moveTo>
                  <a:cubicBezTo>
                    <a:pt x="910" y="476"/>
                    <a:pt x="958" y="523"/>
                    <a:pt x="1005" y="569"/>
                  </a:cubicBezTo>
                  <a:cubicBezTo>
                    <a:pt x="1024" y="588"/>
                    <a:pt x="1045" y="599"/>
                    <a:pt x="1072" y="587"/>
                  </a:cubicBezTo>
                  <a:cubicBezTo>
                    <a:pt x="1097" y="576"/>
                    <a:pt x="1105" y="555"/>
                    <a:pt x="1105" y="529"/>
                  </a:cubicBezTo>
                  <a:cubicBezTo>
                    <a:pt x="1104" y="374"/>
                    <a:pt x="1105" y="218"/>
                    <a:pt x="1104" y="62"/>
                  </a:cubicBezTo>
                  <a:cubicBezTo>
                    <a:pt x="1104" y="23"/>
                    <a:pt x="1083" y="0"/>
                    <a:pt x="1044" y="0"/>
                  </a:cubicBezTo>
                  <a:cubicBezTo>
                    <a:pt x="886" y="0"/>
                    <a:pt x="728" y="0"/>
                    <a:pt x="569" y="0"/>
                  </a:cubicBezTo>
                  <a:cubicBezTo>
                    <a:pt x="545" y="0"/>
                    <a:pt x="527" y="11"/>
                    <a:pt x="517" y="34"/>
                  </a:cubicBezTo>
                  <a:cubicBezTo>
                    <a:pt x="506" y="57"/>
                    <a:pt x="515" y="77"/>
                    <a:pt x="531" y="94"/>
                  </a:cubicBezTo>
                  <a:cubicBezTo>
                    <a:pt x="552" y="115"/>
                    <a:pt x="572" y="135"/>
                    <a:pt x="593" y="156"/>
                  </a:cubicBezTo>
                  <a:cubicBezTo>
                    <a:pt x="620" y="182"/>
                    <a:pt x="648" y="207"/>
                    <a:pt x="675" y="233"/>
                  </a:cubicBezTo>
                  <a:cubicBezTo>
                    <a:pt x="617" y="296"/>
                    <a:pt x="562" y="352"/>
                    <a:pt x="511" y="411"/>
                  </a:cubicBezTo>
                  <a:cubicBezTo>
                    <a:pt x="254" y="703"/>
                    <a:pt x="65" y="1028"/>
                    <a:pt x="15" y="1421"/>
                  </a:cubicBezTo>
                  <a:cubicBezTo>
                    <a:pt x="8" y="1479"/>
                    <a:pt x="5" y="1536"/>
                    <a:pt x="0" y="1594"/>
                  </a:cubicBezTo>
                  <a:cubicBezTo>
                    <a:pt x="3" y="1595"/>
                    <a:pt x="5" y="1596"/>
                    <a:pt x="8" y="1597"/>
                  </a:cubicBezTo>
                  <a:cubicBezTo>
                    <a:pt x="214" y="1150"/>
                    <a:pt x="500" y="760"/>
                    <a:pt x="863" y="429"/>
                  </a:cubicBez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</p:spPr>
          <p:txBody>
            <a:bodyPr vert="horz" wrap="square" lIns="68564" tIns="34282" rIns="68564" bIns="34282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181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362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54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724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5905" algn="l" defTabSz="914362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086" algn="l" defTabSz="914362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266" algn="l" defTabSz="914362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448" algn="l" defTabSz="914362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IE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  <a:sym typeface="Arial"/>
              </a:endParaRPr>
            </a:p>
          </p:txBody>
        </p:sp>
      </p:grpSp>
      <p:pic>
        <p:nvPicPr>
          <p:cNvPr id="51" name="Graphic 2" descr="Atom with solid fill">
            <a:extLst>
              <a:ext uri="{FF2B5EF4-FFF2-40B4-BE49-F238E27FC236}">
                <a16:creationId xmlns:a16="http://schemas.microsoft.com/office/drawing/2014/main" id="{674CF9CE-BE0A-0F9C-E792-ADDD56C9A4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05304" y="1665152"/>
            <a:ext cx="914400" cy="914400"/>
          </a:xfrm>
          <a:prstGeom prst="rect">
            <a:avLst/>
          </a:prstGeom>
        </p:spPr>
      </p:pic>
      <p:pic>
        <p:nvPicPr>
          <p:cNvPr id="52" name="Graphic 3" descr="Target with solid fill">
            <a:extLst>
              <a:ext uri="{FF2B5EF4-FFF2-40B4-BE49-F238E27FC236}">
                <a16:creationId xmlns:a16="http://schemas.microsoft.com/office/drawing/2014/main" id="{F32E4518-E8F3-2C80-E57F-DF10772E36A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531912" y="1665152"/>
            <a:ext cx="914400" cy="914400"/>
          </a:xfrm>
          <a:prstGeom prst="rect">
            <a:avLst/>
          </a:prstGeom>
        </p:spPr>
      </p:pic>
      <p:pic>
        <p:nvPicPr>
          <p:cNvPr id="53" name="Graphic 4" descr="Cloud Computing with solid fill">
            <a:extLst>
              <a:ext uri="{FF2B5EF4-FFF2-40B4-BE49-F238E27FC236}">
                <a16:creationId xmlns:a16="http://schemas.microsoft.com/office/drawing/2014/main" id="{40125982-67DB-0704-AB01-68AFFB31F09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694095" y="3719463"/>
            <a:ext cx="752217" cy="721326"/>
          </a:xfrm>
          <a:prstGeom prst="rect">
            <a:avLst/>
          </a:prstGeom>
        </p:spPr>
      </p:pic>
      <p:sp>
        <p:nvSpPr>
          <p:cNvPr id="57" name="TextBox 56">
            <a:extLst>
              <a:ext uri="{FF2B5EF4-FFF2-40B4-BE49-F238E27FC236}">
                <a16:creationId xmlns:a16="http://schemas.microsoft.com/office/drawing/2014/main" id="{FE1A36BC-ABDA-60C4-F42C-2C405DDD0A70}"/>
              </a:ext>
            </a:extLst>
          </p:cNvPr>
          <p:cNvSpPr txBox="1"/>
          <p:nvPr/>
        </p:nvSpPr>
        <p:spPr>
          <a:xfrm>
            <a:off x="272443" y="445846"/>
            <a:ext cx="877734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The </a:t>
            </a:r>
            <a:r>
              <a:rPr kumimoji="0" lang="en-US" sz="2800" b="0" i="1" u="sng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Impact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of Data on Our Organiz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80707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ySniXFyApYQmGFOHk.P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5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87010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AGILENT 16-9">
  <a:themeElements>
    <a:clrScheme name="AGILENT COLORS">
      <a:dk1>
        <a:srgbClr val="53565A"/>
      </a:dk1>
      <a:lt1>
        <a:srgbClr val="FFFFFF"/>
      </a:lt1>
      <a:dk2>
        <a:srgbClr val="000000"/>
      </a:dk2>
      <a:lt2>
        <a:srgbClr val="FFFFFF"/>
      </a:lt2>
      <a:accent1>
        <a:srgbClr val="0085D5"/>
      </a:accent1>
      <a:accent2>
        <a:srgbClr val="F2A900"/>
      </a:accent2>
      <a:accent3>
        <a:srgbClr val="84BD00"/>
      </a:accent3>
      <a:accent4>
        <a:srgbClr val="00A9E0"/>
      </a:accent4>
      <a:accent5>
        <a:srgbClr val="00426A"/>
      </a:accent5>
      <a:accent6>
        <a:srgbClr val="D6001C"/>
      </a:accent6>
      <a:hlink>
        <a:srgbClr val="0085D5"/>
      </a:hlink>
      <a:folHlink>
        <a:srgbClr val="80276C"/>
      </a:folHlink>
    </a:clrScheme>
    <a:fontScheme name="AGILENT PPT &amp; OUTLOO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gilent 16-9" id="{3CB74861-FB5A-44F0-BCDF-2AC764DA9061}" vid="{67474137-489F-42F2-AD27-BD96EF6F8569}"/>
    </a:ext>
  </a:extLst>
</a:theme>
</file>

<file path=ppt/theme/theme4.xml><?xml version="1.0" encoding="utf-8"?>
<a:theme xmlns:a="http://schemas.openxmlformats.org/drawingml/2006/main" name="1_Office Theme">
  <a:themeElements>
    <a:clrScheme name="HireRigh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A1010"/>
      </a:accent1>
      <a:accent2>
        <a:srgbClr val="757575"/>
      </a:accent2>
      <a:accent3>
        <a:srgbClr val="1F74DB"/>
      </a:accent3>
      <a:accent4>
        <a:srgbClr val="C9D716"/>
      </a:accent4>
      <a:accent5>
        <a:srgbClr val="25BAA7"/>
      </a:accent5>
      <a:accent6>
        <a:srgbClr val="FFC658"/>
      </a:accent6>
      <a:hlink>
        <a:srgbClr val="214069"/>
      </a:hlink>
      <a:folHlink>
        <a:srgbClr val="EA1010"/>
      </a:folHlink>
    </a:clrScheme>
    <a:fontScheme name="HireRigh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77985</TotalTime>
  <Words>224</Words>
  <Application>Microsoft Office PowerPoint</Application>
  <PresentationFormat>Widescreen</PresentationFormat>
  <Paragraphs>50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9" baseType="lpstr">
      <vt:lpstr>Agfa Rotis Sans Serif</vt:lpstr>
      <vt:lpstr>Arial</vt:lpstr>
      <vt:lpstr>Avenir Next</vt:lpstr>
      <vt:lpstr>Calibri</vt:lpstr>
      <vt:lpstr>Calibri Light</vt:lpstr>
      <vt:lpstr>Lucida Grande</vt:lpstr>
      <vt:lpstr>Roboto</vt:lpstr>
      <vt:lpstr>Roboto Light</vt:lpstr>
      <vt:lpstr>System Font Regular</vt:lpstr>
      <vt:lpstr>Verdana</vt:lpstr>
      <vt:lpstr>Wingdings</vt:lpstr>
      <vt:lpstr>Office Theme</vt:lpstr>
      <vt:lpstr>Custom Design</vt:lpstr>
      <vt:lpstr>1_AGILENT 16-9</vt:lpstr>
      <vt:lpstr>1_Office Theme</vt:lpstr>
      <vt:lpstr>think-cell Slide</vt:lpstr>
      <vt:lpstr>The Impact  of  Data</vt:lpstr>
      <vt:lpstr>The Impact of Data on Our Organiz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Patrick Jacolenne</dc:creator>
  <cp:keywords/>
  <dc:description/>
  <cp:lastModifiedBy>Patrick Jacolenne</cp:lastModifiedBy>
  <cp:revision>1543</cp:revision>
  <cp:lastPrinted>2022-01-25T19:11:12Z</cp:lastPrinted>
  <dcterms:created xsi:type="dcterms:W3CDTF">2013-04-15T13:08:21Z</dcterms:created>
  <dcterms:modified xsi:type="dcterms:W3CDTF">2023-08-17T16:41:22Z</dcterms:modified>
  <cp:category/>
</cp:coreProperties>
</file>